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1"/>
  </p:sldMasterIdLst>
  <p:notesMasterIdLst>
    <p:notesMasterId r:id="rId54"/>
  </p:notesMasterIdLst>
  <p:handoutMasterIdLst>
    <p:handoutMasterId r:id="rId55"/>
  </p:handoutMasterIdLst>
  <p:sldIdLst>
    <p:sldId id="257" r:id="rId2"/>
    <p:sldId id="369" r:id="rId3"/>
    <p:sldId id="349" r:id="rId4"/>
    <p:sldId id="350" r:id="rId5"/>
    <p:sldId id="378" r:id="rId6"/>
    <p:sldId id="361" r:id="rId7"/>
    <p:sldId id="362" r:id="rId8"/>
    <p:sldId id="379" r:id="rId9"/>
    <p:sldId id="363" r:id="rId10"/>
    <p:sldId id="364" r:id="rId11"/>
    <p:sldId id="380" r:id="rId12"/>
    <p:sldId id="377" r:id="rId13"/>
    <p:sldId id="365" r:id="rId14"/>
    <p:sldId id="366" r:id="rId15"/>
    <p:sldId id="381" r:id="rId16"/>
    <p:sldId id="367" r:id="rId17"/>
    <p:sldId id="368" r:id="rId18"/>
    <p:sldId id="382" r:id="rId19"/>
    <p:sldId id="331" r:id="rId20"/>
    <p:sldId id="332" r:id="rId21"/>
    <p:sldId id="335" r:id="rId22"/>
    <p:sldId id="383" r:id="rId23"/>
    <p:sldId id="336" r:id="rId24"/>
    <p:sldId id="334" r:id="rId25"/>
    <p:sldId id="384" r:id="rId26"/>
    <p:sldId id="337" r:id="rId27"/>
    <p:sldId id="370" r:id="rId28"/>
    <p:sldId id="385" r:id="rId29"/>
    <p:sldId id="376" r:id="rId30"/>
    <p:sldId id="340" r:id="rId31"/>
    <p:sldId id="338" r:id="rId32"/>
    <p:sldId id="386" r:id="rId33"/>
    <p:sldId id="341" r:id="rId34"/>
    <p:sldId id="339" r:id="rId35"/>
    <p:sldId id="387" r:id="rId36"/>
    <p:sldId id="375" r:id="rId37"/>
    <p:sldId id="343" r:id="rId38"/>
    <p:sldId id="342" r:id="rId39"/>
    <p:sldId id="388" r:id="rId40"/>
    <p:sldId id="344" r:id="rId41"/>
    <p:sldId id="345" r:id="rId42"/>
    <p:sldId id="389" r:id="rId43"/>
    <p:sldId id="374" r:id="rId44"/>
    <p:sldId id="346" r:id="rId45"/>
    <p:sldId id="347" r:id="rId46"/>
    <p:sldId id="390" r:id="rId47"/>
    <p:sldId id="333" r:id="rId48"/>
    <p:sldId id="371" r:id="rId49"/>
    <p:sldId id="391" r:id="rId50"/>
    <p:sldId id="372" r:id="rId51"/>
    <p:sldId id="373" r:id="rId52"/>
    <p:sldId id="392" r:id="rId53"/>
  </p:sldIdLst>
  <p:sldSz cx="12192000" cy="6858000"/>
  <p:notesSz cx="6858000" cy="9144000"/>
  <p:custDataLst>
    <p:tags r:id="rId5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36E2E80B-9B50-4AB0-891A-019E892DF3A5}">
          <p14:sldIdLst>
            <p14:sldId id="257"/>
          </p14:sldIdLst>
        </p14:section>
        <p14:section name="Single Para Test" id="{FB9D6B72-E7B5-417E-B6D6-F609CB20F811}">
          <p14:sldIdLst>
            <p14:sldId id="369"/>
            <p14:sldId id="349"/>
            <p14:sldId id="350"/>
            <p14:sldId id="378"/>
            <p14:sldId id="361"/>
            <p14:sldId id="362"/>
            <p14:sldId id="379"/>
            <p14:sldId id="363"/>
            <p14:sldId id="364"/>
            <p14:sldId id="380"/>
            <p14:sldId id="377"/>
            <p14:sldId id="365"/>
            <p14:sldId id="366"/>
            <p14:sldId id="381"/>
            <p14:sldId id="367"/>
            <p14:sldId id="368"/>
            <p14:sldId id="382"/>
            <p14:sldId id="331"/>
            <p14:sldId id="332"/>
            <p14:sldId id="335"/>
            <p14:sldId id="383"/>
            <p14:sldId id="336"/>
            <p14:sldId id="334"/>
            <p14:sldId id="384"/>
            <p14:sldId id="337"/>
            <p14:sldId id="370"/>
            <p14:sldId id="385"/>
            <p14:sldId id="376"/>
            <p14:sldId id="340"/>
            <p14:sldId id="338"/>
            <p14:sldId id="386"/>
            <p14:sldId id="341"/>
            <p14:sldId id="339"/>
            <p14:sldId id="387"/>
            <p14:sldId id="375"/>
            <p14:sldId id="343"/>
            <p14:sldId id="342"/>
            <p14:sldId id="388"/>
            <p14:sldId id="344"/>
            <p14:sldId id="345"/>
            <p14:sldId id="389"/>
          </p14:sldIdLst>
        </p14:section>
        <p14:section name="Combine Para Test" id="{2B0050E8-596D-42E7-9E62-5DFF938A0A59}">
          <p14:sldIdLst>
            <p14:sldId id="374"/>
            <p14:sldId id="346"/>
            <p14:sldId id="347"/>
            <p14:sldId id="390"/>
            <p14:sldId id="333"/>
            <p14:sldId id="371"/>
            <p14:sldId id="391"/>
            <p14:sldId id="372"/>
            <p14:sldId id="373"/>
            <p14:sldId id="39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B300"/>
    <a:srgbClr val="EEEEEE"/>
    <a:srgbClr val="F7F7F7"/>
    <a:srgbClr val="F4F4F4"/>
    <a:srgbClr val="FAFAFA"/>
    <a:srgbClr val="D964C7"/>
    <a:srgbClr val="A4A1A9"/>
    <a:srgbClr val="660B0B"/>
    <a:srgbClr val="D91F1F"/>
    <a:srgbClr val="2310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38" autoAdjust="0"/>
    <p:restoredTop sz="94061" autoAdjust="0"/>
  </p:normalViewPr>
  <p:slideViewPr>
    <p:cSldViewPr snapToGrid="0">
      <p:cViewPr varScale="1">
        <p:scale>
          <a:sx n="109" d="100"/>
          <a:sy n="109" d="100"/>
        </p:scale>
        <p:origin x="108" y="126"/>
      </p:cViewPr>
      <p:guideLst/>
    </p:cSldViewPr>
  </p:slideViewPr>
  <p:outlineViewPr>
    <p:cViewPr>
      <p:scale>
        <a:sx n="33" d="100"/>
        <a:sy n="33" d="100"/>
      </p:scale>
      <p:origin x="0" y="-1536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700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32AE93-04B0-4B14-9BA9-5A4E1E888D4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36576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l">
              <a:defRPr sz="1200"/>
            </a:lvl1pPr>
          </a:lstStyle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© 2017 Keysight Technologies and/or its affiliates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6FEEE-424C-49DA-AAE0-6FD6D9B0551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>
              <a:defRPr sz="1200"/>
            </a:lvl1pPr>
          </a:lstStyle>
          <a:p>
            <a:fld id="{836D5859-1D5A-48C7-BA8C-83EF8FC1CBCA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‹#›</a:t>
            </a:fld>
            <a:endParaRPr lang="en-US" sz="8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746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1650" y="914400"/>
            <a:ext cx="5854700" cy="3294063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14353" y="4400549"/>
            <a:ext cx="5829301" cy="360045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685213"/>
            <a:ext cx="3657600" cy="458787"/>
          </a:xfrm>
          <a:prstGeom prst="rect">
            <a:avLst/>
          </a:prstGeom>
        </p:spPr>
        <p:txBody>
          <a:bodyPr vert="horz" wrap="square" lIns="182880" tIns="182880" rIns="182880" bIns="182880" rtlCol="0" anchor="b">
            <a:noAutofit/>
          </a:bodyPr>
          <a:lstStyle>
            <a:lvl1pPr>
              <a:defRPr 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© 2017 Keysight Technologies and/or its affiliates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8FDEE44-2F84-48D1-BBF6-82E16595D1F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182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Bef>
        <a:spcPts val="400"/>
      </a:spcBef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27432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1148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54864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4103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259E29B8-69B3-4461-B37F-0DBB9DC0476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7C7E9E7-7333-4EF5-9FC3-4CEF923EA801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40" name="Logo">
            <a:extLst>
              <a:ext uri="{FF2B5EF4-FFF2-40B4-BE49-F238E27FC236}">
                <a16:creationId xmlns:a16="http://schemas.microsoft.com/office/drawing/2014/main" id="{D2A95714-9F6E-48DD-9ED6-94BDDECF0F4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39598F92-4036-449A-A381-281AC133F93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6A04830E-5424-4362-9CD6-60CBCC39C20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Ruler">
            <a:extLst>
              <a:ext uri="{FF2B5EF4-FFF2-40B4-BE49-F238E27FC236}">
                <a16:creationId xmlns:a16="http://schemas.microsoft.com/office/drawing/2014/main" id="{DBE24C15-4489-4BF7-A20E-4FEB0A1A667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BDB098C-E5AE-4364-A913-1C8D462BF9B3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9A6D359-A1D3-413C-8281-5A2E7EEE320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5A7D9A44-D64C-4D5A-B183-958220A4996C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34F8A2C-8776-4D1A-93D7-4590C0622121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91CB2CF-6B6F-48D5-8365-33EC34BA80A0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458D058-1610-4C89-9349-E009140E28F5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35743F61-B1FA-44F3-81EC-3FF4A1864B3B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6A99D48-7BDC-4896-BBA2-67770AABD231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B3F7266-53C6-4879-8513-A4486B8FC303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465021D-7CFB-4445-8798-684D88150AE5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1F2AFDE6-7C63-49EA-B242-2927A8B9902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D252C539-DDC5-412A-AD14-69BA4ED96AF5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A6D93BA2-F008-40E1-825E-6CF327EC92DA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D2E7C4B-6367-42C3-B536-906DE4FD552D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A78576E-5C4A-48E5-B281-76308E82DB77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1B39927-09E1-467A-8149-FE7A19A30F66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DC32B564-C1C7-4C1A-8066-81D90765D42D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1267B10-9154-4C28-9140-3AF5C2021E44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290F9B9-A40C-41F9-B489-C1D87E71C101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Speaker Name">
            <a:extLst>
              <a:ext uri="{FF2B5EF4-FFF2-40B4-BE49-F238E27FC236}">
                <a16:creationId xmlns:a16="http://schemas.microsoft.com/office/drawing/2014/main" id="{88104DA9-6CD2-4C4F-A6AE-C5D0CD6E0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Name</a:t>
            </a:r>
          </a:p>
        </p:txBody>
      </p:sp>
      <p:sp>
        <p:nvSpPr>
          <p:cNvPr id="37" name="Text Placeholder 128">
            <a:extLst>
              <a:ext uri="{FF2B5EF4-FFF2-40B4-BE49-F238E27FC236}">
                <a16:creationId xmlns:a16="http://schemas.microsoft.com/office/drawing/2014/main" id="{69D5EB8D-3B85-4059-8F34-4BFB6D0DED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 dirty="0"/>
              <a:t>YYYY.MM.DD</a:t>
            </a:r>
          </a:p>
        </p:txBody>
      </p:sp>
      <p:sp>
        <p:nvSpPr>
          <p:cNvPr id="38" name="Speaker Title">
            <a:extLst>
              <a:ext uri="{FF2B5EF4-FFF2-40B4-BE49-F238E27FC236}">
                <a16:creationId xmlns:a16="http://schemas.microsoft.com/office/drawing/2014/main" id="{0D9078F8-E937-4EF3-AC9B-A84856FA9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Title / Company Name</a:t>
            </a:r>
          </a:p>
        </p:txBody>
      </p:sp>
      <p:sp>
        <p:nvSpPr>
          <p:cNvPr id="31" name="Title">
            <a:extLst>
              <a:ext uri="{FF2B5EF4-FFF2-40B4-BE49-F238E27FC236}">
                <a16:creationId xmlns:a16="http://schemas.microsoft.com/office/drawing/2014/main" id="{7A92962A-B660-43F3-9C7C-C1CD756ED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1456875"/>
            <a:ext cx="9372600" cy="1336928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 dirty="0"/>
              <a:t>Title Slide Layou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FC49378-BFD9-43A8-8DB2-52BE426047C8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3878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04A056E-0A81-49A4-A1E8-EC8E2D83F6A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447"/>
            <a:ext cx="12192000" cy="6857107"/>
          </a:xfrm>
          <a:solidFill>
            <a:schemeClr val="bg1">
              <a:lumMod val="85000"/>
            </a:schemeClr>
          </a:solidFill>
        </p:spPr>
        <p:txBody>
          <a:bodyPr bIns="640080" anchor="ctr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below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4251802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Mosa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F06E54C9-A448-4577-8FFC-86B9235556E4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49261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50D041D-3D23-45A0-B825-F6942FB33899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49261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A34408D2-7305-44BD-88E2-4782253029F6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449261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AE057395-5D60-4151-A3F4-BD3C26F517E0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2724005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82EC2578-E69B-48E7-9A0D-509C4DCB31EA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2724005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D0D4746-2A3C-4008-AE56-9C971679424A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2724005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FCA5D73-8894-4E23-A184-A54E0EC5A0EE}"/>
              </a:ext>
            </a:extLst>
          </p:cNvPr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499874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6ACBD5C3-DCFC-4051-9545-03D3162522D6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99874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A66F51C-4B75-45D7-A374-BEBFC16F4525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99874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892A4E8F-9D23-4A3B-9CF3-6E98766A0FC3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7273493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7C4C030-205C-4BEE-910F-AE86E4049451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7273493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FC23546C-CAC0-4FD6-8C62-1F4F217EC83D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7273493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084AFB79-D26E-4F3D-8A40-6D479CF90DB0}"/>
              </a:ext>
            </a:extLst>
          </p:cNvPr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954823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897A7121-A588-46B7-AF5B-FDF684B00905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954823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89C5946B-4047-4FB3-AC49-D0F9A0F37808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54823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DC077E-289F-4AAE-B3F6-9B318C828A23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4F685A-9886-45FB-8B04-AB8597A67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hoto Mosaic Layout</a:t>
            </a:r>
          </a:p>
        </p:txBody>
      </p:sp>
    </p:spTree>
    <p:extLst>
      <p:ext uri="{BB962C8B-B14F-4D97-AF65-F5344CB8AC3E}">
        <p14:creationId xmlns:p14="http://schemas.microsoft.com/office/powerpoint/2010/main" val="23448118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CE3183E7-4A32-4F91-8AF8-C43C846072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76819" y="5140292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76819" y="4734027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2" name="Quote">
            <a:extLst>
              <a:ext uri="{FF2B5EF4-FFF2-40B4-BE49-F238E27FC236}">
                <a16:creationId xmlns:a16="http://schemas.microsoft.com/office/drawing/2014/main" id="{86824591-1B5F-489A-9593-4CEFC4B3EE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19" y="1454532"/>
            <a:ext cx="8636427" cy="327949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lIns="182880" tIns="91440" rIns="182880" bIns="91440" rtlCol="0" anchor="t">
            <a:noAutofit/>
          </a:bodyPr>
          <a:lstStyle>
            <a:lvl1pPr>
              <a:lnSpc>
                <a:spcPct val="100000"/>
              </a:lnSpc>
              <a:defRPr lang="en-US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 dirty="0"/>
              <a:t>Quote layout.</a:t>
            </a:r>
          </a:p>
        </p:txBody>
      </p:sp>
      <p:grpSp>
        <p:nvGrpSpPr>
          <p:cNvPr id="22" name="Quote_Box">
            <a:extLst>
              <a:ext uri="{FF2B5EF4-FFF2-40B4-BE49-F238E27FC236}">
                <a16:creationId xmlns:a16="http://schemas.microsoft.com/office/drawing/2014/main" id="{16644DA2-FD5C-4132-871A-2F4CC3B9C3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7850" y="1454532"/>
            <a:ext cx="648005" cy="648005"/>
            <a:chOff x="1127850" y="1457847"/>
            <a:chExt cx="648005" cy="648005"/>
          </a:xfrm>
        </p:grpSpPr>
        <p:sp>
          <p:nvSpPr>
            <p:cNvPr id="23" name="Quote_Box">
              <a:extLst>
                <a:ext uri="{FF2B5EF4-FFF2-40B4-BE49-F238E27FC236}">
                  <a16:creationId xmlns:a16="http://schemas.microsoft.com/office/drawing/2014/main" id="{F8742923-446F-4F3E-A318-7D750E032EAE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24" name="Icon">
              <a:extLst>
                <a:ext uri="{FF2B5EF4-FFF2-40B4-BE49-F238E27FC236}">
                  <a16:creationId xmlns:a16="http://schemas.microsoft.com/office/drawing/2014/main" id="{64D02E25-A2AE-488C-8479-BFF4596F0CD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DB22BC-764C-491D-888B-64DE8D2F75F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3BF195AF-9651-4702-B588-B7C0FCFE2DB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7" name="Logo">
            <a:extLst>
              <a:ext uri="{FF2B5EF4-FFF2-40B4-BE49-F238E27FC236}">
                <a16:creationId xmlns:a16="http://schemas.microsoft.com/office/drawing/2014/main" id="{D793CBCB-9D3E-4FB2-9244-94F5FE9EB0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5CA6D27F-C163-4B78-8C9F-63F81E7A86B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2CF469B8-42CE-43E7-A089-ED56DA2D857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957913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038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38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00383" y="1630264"/>
            <a:ext cx="507306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wo quote layout.</a:t>
            </a:r>
          </a:p>
        </p:txBody>
      </p:sp>
      <p:grpSp>
        <p:nvGrpSpPr>
          <p:cNvPr id="106" name="Quote_Box">
            <a:extLst>
              <a:ext uri="{FF2B5EF4-FFF2-40B4-BE49-F238E27FC236}">
                <a16:creationId xmlns:a16="http://schemas.microsoft.com/office/drawing/2014/main" id="{ABCF5F15-1C99-4B5F-A62C-06821A1D01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300383" y="1115459"/>
            <a:ext cx="509542" cy="509542"/>
            <a:chOff x="1127850" y="1457847"/>
            <a:chExt cx="648005" cy="648005"/>
          </a:xfrm>
        </p:grpSpPr>
        <p:sp>
          <p:nvSpPr>
            <p:cNvPr id="107" name="Quote_Box">
              <a:extLst>
                <a:ext uri="{FF2B5EF4-FFF2-40B4-BE49-F238E27FC236}">
                  <a16:creationId xmlns:a16="http://schemas.microsoft.com/office/drawing/2014/main" id="{BBFBCDF7-264A-4503-9A4A-3935E8AFA29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108" name="Icon">
              <a:extLst>
                <a:ext uri="{FF2B5EF4-FFF2-40B4-BE49-F238E27FC236}">
                  <a16:creationId xmlns:a16="http://schemas.microsoft.com/office/drawing/2014/main" id="{D21F579F-48BF-483D-8137-FE8CA23EA9A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111" y="1630264"/>
            <a:ext cx="506985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wo quote layout.</a:t>
            </a:r>
          </a:p>
        </p:txBody>
      </p:sp>
      <p:grpSp>
        <p:nvGrpSpPr>
          <p:cNvPr id="7" name="Quote_Box">
            <a:extLst>
              <a:ext uri="{FF2B5EF4-FFF2-40B4-BE49-F238E27FC236}">
                <a16:creationId xmlns:a16="http://schemas.microsoft.com/office/drawing/2014/main" id="{9668343F-8517-4F28-87DB-A2A07E8FB7E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7112" y="1115459"/>
            <a:ext cx="509542" cy="509542"/>
            <a:chOff x="1127850" y="1457847"/>
            <a:chExt cx="648005" cy="648005"/>
          </a:xfrm>
        </p:grpSpPr>
        <p:sp>
          <p:nvSpPr>
            <p:cNvPr id="36" name="Quote_Box">
              <a:extLst>
                <a:ext uri="{FF2B5EF4-FFF2-40B4-BE49-F238E27FC236}">
                  <a16:creationId xmlns:a16="http://schemas.microsoft.com/office/drawing/2014/main" id="{42E56F5C-3AEB-4DE3-8888-7B24F0EA495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6" name="Icon">
              <a:extLst>
                <a:ext uri="{FF2B5EF4-FFF2-40B4-BE49-F238E27FC236}">
                  <a16:creationId xmlns:a16="http://schemas.microsoft.com/office/drawing/2014/main" id="{3DF19E5B-CFF4-45C8-B61A-F63CA122FB99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5EF5EE-3B70-4DA9-9CA4-B61782592FB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32" name="Slide Number">
            <a:extLst>
              <a:ext uri="{FF2B5EF4-FFF2-40B4-BE49-F238E27FC236}">
                <a16:creationId xmlns:a16="http://schemas.microsoft.com/office/drawing/2014/main" id="{FC713103-2866-494C-A53B-1AB3D87EEA7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3" name="Logo">
            <a:extLst>
              <a:ext uri="{FF2B5EF4-FFF2-40B4-BE49-F238E27FC236}">
                <a16:creationId xmlns:a16="http://schemas.microsoft.com/office/drawing/2014/main" id="{CB047E31-151D-47D0-80D7-E717E2B6922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EEA3A2DC-1140-4EDC-B868-8D42AE958DD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B821CE29-24BB-4400-BA45-0223522B7F7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563301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110" name="Affiliation">
            <a:extLst>
              <a:ext uri="{FF2B5EF4-FFF2-40B4-BE49-F238E27FC236}">
                <a16:creationId xmlns:a16="http://schemas.microsoft.com/office/drawing/2014/main" id="{03391EED-1D97-47E6-8177-6C95A24711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784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11" name="Name">
            <a:extLst>
              <a:ext uri="{FF2B5EF4-FFF2-40B4-BE49-F238E27FC236}">
                <a16:creationId xmlns:a16="http://schemas.microsoft.com/office/drawing/2014/main" id="{F8ADE435-12F0-4A39-B8D8-C041290A99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784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15" name="Text Placeholder 9">
            <a:extLst>
              <a:ext uri="{FF2B5EF4-FFF2-40B4-BE49-F238E27FC236}">
                <a16:creationId xmlns:a16="http://schemas.microsoft.com/office/drawing/2014/main" id="{F508999A-BE23-41E9-BBE2-1DC9042691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84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113" name="Quote_Box">
            <a:extLst>
              <a:ext uri="{FF2B5EF4-FFF2-40B4-BE49-F238E27FC236}">
                <a16:creationId xmlns:a16="http://schemas.microsoft.com/office/drawing/2014/main" id="{63E5C30B-475D-4271-B492-051282960614}"/>
              </a:ext>
            </a:extLst>
          </p:cNvPr>
          <p:cNvSpPr/>
          <p:nvPr userDrawn="1"/>
        </p:nvSpPr>
        <p:spPr>
          <a:xfrm>
            <a:off x="8127844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4" name="Icon">
            <a:extLst>
              <a:ext uri="{FF2B5EF4-FFF2-40B4-BE49-F238E27FC236}">
                <a16:creationId xmlns:a16="http://schemas.microsoft.com/office/drawing/2014/main" id="{6207C573-4A51-45AB-8A2D-1B0EC0E0CF7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263899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4472940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4472940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472940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107" name="Quote_Box">
            <a:extLst>
              <a:ext uri="{FF2B5EF4-FFF2-40B4-BE49-F238E27FC236}">
                <a16:creationId xmlns:a16="http://schemas.microsoft.com/office/drawing/2014/main" id="{BBFBCDF7-264A-4503-9A4A-3935E8AFA293}"/>
              </a:ext>
            </a:extLst>
          </p:cNvPr>
          <p:cNvSpPr/>
          <p:nvPr userDrawn="1"/>
        </p:nvSpPr>
        <p:spPr>
          <a:xfrm>
            <a:off x="4471995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8" name="Icon">
            <a:extLst>
              <a:ext uri="{FF2B5EF4-FFF2-40B4-BE49-F238E27FC236}">
                <a16:creationId xmlns:a16="http://schemas.microsoft.com/office/drawing/2014/main" id="{D21F579F-48BF-483D-8137-FE8CA23EA9A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608050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1711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36" name="Quote_Box">
            <a:extLst>
              <a:ext uri="{FF2B5EF4-FFF2-40B4-BE49-F238E27FC236}">
                <a16:creationId xmlns:a16="http://schemas.microsoft.com/office/drawing/2014/main" id="{42E56F5C-3AEB-4DE3-8888-7B24F0EA4953}"/>
              </a:ext>
            </a:extLst>
          </p:cNvPr>
          <p:cNvSpPr/>
          <p:nvPr userDrawn="1"/>
        </p:nvSpPr>
        <p:spPr>
          <a:xfrm>
            <a:off x="817112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Icon">
            <a:extLst>
              <a:ext uri="{FF2B5EF4-FFF2-40B4-BE49-F238E27FC236}">
                <a16:creationId xmlns:a16="http://schemas.microsoft.com/office/drawing/2014/main" id="{3DF19E5B-CFF4-45C8-B61A-F63CA122FB9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53167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09D31E-8183-451E-99A7-97F7D20575CB}"/>
              </a:ext>
            </a:extLst>
          </p:cNvPr>
          <p:cNvSpPr>
            <a:spLocks noGrp="1"/>
          </p:cNvSpPr>
          <p:nvPr userDrawn="1">
            <p:ph type="ftr" sz="quarter" idx="27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37" name="Slide Number">
            <a:extLst>
              <a:ext uri="{FF2B5EF4-FFF2-40B4-BE49-F238E27FC236}">
                <a16:creationId xmlns:a16="http://schemas.microsoft.com/office/drawing/2014/main" id="{64FA7F3B-629E-4994-9D8D-543F3F50ED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8" name="Logo">
            <a:extLst>
              <a:ext uri="{FF2B5EF4-FFF2-40B4-BE49-F238E27FC236}">
                <a16:creationId xmlns:a16="http://schemas.microsoft.com/office/drawing/2014/main" id="{8D803CD8-0215-4AF5-8112-85A0C960BE0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1FE609AA-87CA-4AAA-86B8-3A5F58ED1C2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A9110DB-3204-4593-B863-F03340BAE92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99194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ure">
            <a:extLst>
              <a:ext uri="{FF2B5EF4-FFF2-40B4-BE49-F238E27FC236}">
                <a16:creationId xmlns:a16="http://schemas.microsoft.com/office/drawing/2014/main" id="{1E4985FC-C4A1-4C4E-9D8B-E1EF235D55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54FD730-BB81-4C20-B6E9-3E0B048CAC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1463040"/>
            <a:ext cx="11292840" cy="3785616"/>
          </a:xfrm>
        </p:spPr>
        <p:txBody>
          <a:bodyPr anchor="ctr"/>
          <a:lstStyle>
            <a:lvl1pPr algn="ctr">
              <a:lnSpc>
                <a:spcPct val="90000"/>
              </a:lnSpc>
              <a:defRPr lang="en-US" sz="4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/>
              <a:t>Large statement layout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9D9AE906-1DB3-4285-A68A-0F8B8AC97C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7E814A0-99D6-40C5-A745-5C658684C0F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7" name="Logo">
            <a:extLst>
              <a:ext uri="{FF2B5EF4-FFF2-40B4-BE49-F238E27FC236}">
                <a16:creationId xmlns:a16="http://schemas.microsoft.com/office/drawing/2014/main" id="{CBA27C52-51B0-46E5-A354-FDA0C0E69C9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0AE504F3-CE1B-4FFA-90CB-0DB30ADE04C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47EEFBCB-3E60-4B8E-989D-3A4D50513D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2009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D815A8-0624-4A10-B1F3-C19B0E2331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9984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(No Textur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">
            <a:extLst>
              <a:ext uri="{FF2B5EF4-FFF2-40B4-BE49-F238E27FC236}">
                <a16:creationId xmlns:a16="http://schemas.microsoft.com/office/drawing/2014/main" id="{C1F06F61-6DD2-446B-987D-B384047C087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5" name="Logo">
            <a:extLst>
              <a:ext uri="{FF2B5EF4-FFF2-40B4-BE49-F238E27FC236}">
                <a16:creationId xmlns:a16="http://schemas.microsoft.com/office/drawing/2014/main" id="{56CEE073-8BD3-492B-BD4A-547A71C58B3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FC4CFB3E-CC68-4065-BA51-35CB29381FC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80F4F0DF-D1F7-485E-8B01-94A5F0B04E4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8FB5C1-1733-49B1-83F7-48444CAFE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6952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F2D524AB-E282-4686-B58B-641438DC9B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BD298B8-A731-40B0-A82D-73E38F5E3C48}"/>
              </a:ext>
            </a:extLst>
          </p:cNvPr>
          <p:cNvSpPr/>
          <p:nvPr userDrawn="1"/>
        </p:nvSpPr>
        <p:spPr>
          <a:xfrm>
            <a:off x="2990868" y="1895475"/>
            <a:ext cx="6496032" cy="2883030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077A18B9-3018-42E0-8877-4E494677B9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757744" y="2807676"/>
            <a:ext cx="4676512" cy="1097280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66A3BF12-9A81-464B-8E0D-17C715D2D57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5C73C4CA-E0CE-41EC-A841-98AAB5DA85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133441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ID">
            <a:extLst>
              <a:ext uri="{FF2B5EF4-FFF2-40B4-BE49-F238E27FC236}">
                <a16:creationId xmlns:a16="http://schemas.microsoft.com/office/drawing/2014/main" id="{B01B4ED1-11E6-4650-B725-EC73B57E4A24}"/>
              </a:ext>
            </a:extLst>
          </p:cNvPr>
          <p:cNvGrpSpPr/>
          <p:nvPr userDrawn="1"/>
        </p:nvGrpSpPr>
        <p:grpSpPr>
          <a:xfrm>
            <a:off x="0" y="-1"/>
            <a:ext cx="12192000" cy="6858001"/>
            <a:chOff x="0" y="-1"/>
            <a:chExt cx="12192000" cy="6858001"/>
          </a:xfrm>
        </p:grpSpPr>
        <p:grpSp>
          <p:nvGrpSpPr>
            <p:cNvPr id="90" name="5-Columns">
              <a:extLst>
                <a:ext uri="{FF2B5EF4-FFF2-40B4-BE49-F238E27FC236}">
                  <a16:creationId xmlns:a16="http://schemas.microsoft.com/office/drawing/2014/main" id="{7FDABA8A-9F63-4CB3-AD6D-E3081FE4A134}"/>
                </a:ext>
              </a:extLst>
            </p:cNvPr>
            <p:cNvGrpSpPr/>
            <p:nvPr userDrawn="1"/>
          </p:nvGrpSpPr>
          <p:grpSpPr>
            <a:xfrm>
              <a:off x="457196" y="6369995"/>
              <a:ext cx="11284638" cy="66775"/>
              <a:chOff x="457196" y="6369995"/>
              <a:chExt cx="11284638" cy="66775"/>
            </a:xfrm>
            <a:solidFill>
              <a:schemeClr val="accent1">
                <a:lumMod val="40000"/>
                <a:lumOff val="60000"/>
                <a:alpha val="35000"/>
              </a:schemeClr>
            </a:solidFill>
          </p:grpSpPr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8CCE06-2803-4BC4-8F52-8C22514AAC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7196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1" name="Rectangle 240">
                <a:extLst>
                  <a:ext uri="{FF2B5EF4-FFF2-40B4-BE49-F238E27FC236}">
                    <a16:creationId xmlns:a16="http://schemas.microsoft.com/office/drawing/2014/main" id="{EFEE6688-BF23-4A0F-B580-67F2EB80DF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57020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2" name="Rectangle 241">
                <a:extLst>
                  <a:ext uri="{FF2B5EF4-FFF2-40B4-BE49-F238E27FC236}">
                    <a16:creationId xmlns:a16="http://schemas.microsoft.com/office/drawing/2014/main" id="{0867ECC9-01B8-4FD0-AA00-DB2A4DF6D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56844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3" name="Rectangle 242">
                <a:extLst>
                  <a:ext uri="{FF2B5EF4-FFF2-40B4-BE49-F238E27FC236}">
                    <a16:creationId xmlns:a16="http://schemas.microsoft.com/office/drawing/2014/main" id="{0F74219B-904B-4014-A041-38C261EB95B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56668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4" name="Rectangle 243">
                <a:extLst>
                  <a:ext uri="{FF2B5EF4-FFF2-40B4-BE49-F238E27FC236}">
                    <a16:creationId xmlns:a16="http://schemas.microsoft.com/office/drawing/2014/main" id="{D37F15D0-DE02-4884-B44D-921B540070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656491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1" name="Columns">
              <a:extLst>
                <a:ext uri="{FF2B5EF4-FFF2-40B4-BE49-F238E27FC236}">
                  <a16:creationId xmlns:a16="http://schemas.microsoft.com/office/drawing/2014/main" id="{CA147F0F-2720-4D14-BF12-11A0E876C4F5}"/>
                </a:ext>
              </a:extLst>
            </p:cNvPr>
            <p:cNvGrpSpPr/>
            <p:nvPr userDrawn="1"/>
          </p:nvGrpSpPr>
          <p:grpSpPr>
            <a:xfrm>
              <a:off x="450165" y="422030"/>
              <a:ext cx="11291670" cy="5868573"/>
              <a:chOff x="450165" y="422030"/>
              <a:chExt cx="11291670" cy="5868573"/>
            </a:xfrm>
            <a:solidFill>
              <a:schemeClr val="accent1">
                <a:lumMod val="40000"/>
                <a:lumOff val="60000"/>
                <a:alpha val="20000"/>
              </a:schemeClr>
            </a:solidFill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9751839D-CEC1-45BE-9708-DAA3CE5F68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01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33028180-FC57-41E2-9874-BD949906CC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0987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A428A839-7BAF-4979-A0EE-91F40C11FE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6958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E8E5B971-2FFF-495D-904E-1754501FCD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2929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331A14FD-E4E3-44E8-90C4-63354F192C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8900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825AFDC6-95BA-4E36-A7E5-2434D0A29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4871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D716465D-EE0D-4453-A606-A83F187D3C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0842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3DC79EC4-363A-4716-8E58-408C7D981B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6813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49FF239A-FB3F-48EE-8991-0EE98B0258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2784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42B26A2-737C-48BF-B21F-47EABB25FB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755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E3076E2C-385C-42BA-8312-8A176F9204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472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9B8902CC-F93D-4AE7-A8DC-25DC91A68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06977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2" name="Half-Columns">
              <a:extLst>
                <a:ext uri="{FF2B5EF4-FFF2-40B4-BE49-F238E27FC236}">
                  <a16:creationId xmlns:a16="http://schemas.microsoft.com/office/drawing/2014/main" id="{204B2196-46C3-43E9-B91C-0070561E93CD}"/>
                </a:ext>
              </a:extLst>
            </p:cNvPr>
            <p:cNvGrpSpPr/>
            <p:nvPr userDrawn="1"/>
          </p:nvGrpSpPr>
          <p:grpSpPr>
            <a:xfrm>
              <a:off x="817594" y="422030"/>
              <a:ext cx="10556812" cy="5868573"/>
              <a:chOff x="817594" y="422030"/>
              <a:chExt cx="10556812" cy="5868573"/>
            </a:xfrm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B4C2424A-DAE7-47F5-803E-8B0C3C4C0B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75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F10CFA4-C33B-4610-8DB6-2E8EC6F927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7730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EB84BBF9-CCBD-4D1E-9F11-4BC2A4DEC4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3701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1256665B-0348-4F3E-ACD5-FD9756A20B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72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61724F5A-484B-49DE-9661-FAACDAE743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5643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169D8861-3D05-4F47-A6E6-629CBE006E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1614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2AF0C905-F3F8-4655-B2FF-297DA836C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7585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25C9DF23-3824-4397-B5F3-CA748E2542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3556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4810292C-F27F-4ADA-A818-ED47B4FDC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9527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0FA31E9E-A1D6-4A1F-A31B-8155BD7639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5498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0ADD4CF6-2B17-408C-B1A2-571FACF84D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146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B1F99D05-254F-46BB-9DB1-7A8273EE2D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74406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Minor-Baselines">
              <a:extLst>
                <a:ext uri="{FF2B5EF4-FFF2-40B4-BE49-F238E27FC236}">
                  <a16:creationId xmlns:a16="http://schemas.microsoft.com/office/drawing/2014/main" id="{98E6344D-0E97-46AD-8557-F3655F4C668A}"/>
                </a:ext>
              </a:extLst>
            </p:cNvPr>
            <p:cNvGrpSpPr/>
            <p:nvPr userDrawn="1"/>
          </p:nvGrpSpPr>
          <p:grpSpPr>
            <a:xfrm>
              <a:off x="0" y="594635"/>
              <a:ext cx="12192000" cy="5523360"/>
              <a:chOff x="0" y="594635"/>
              <a:chExt cx="12192000" cy="5523360"/>
            </a:xfrm>
          </p:grpSpPr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43988CC1-B2D8-45F6-99EB-F0C991951B5A}"/>
                  </a:ext>
                </a:extLst>
              </p:cNvPr>
              <p:cNvCxnSpPr/>
              <p:nvPr userDrawn="1"/>
            </p:nvCxnSpPr>
            <p:spPr>
              <a:xfrm flipH="1">
                <a:off x="0" y="12850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FDC16D86-ECC2-46A0-98AD-FF37E7984488}"/>
                  </a:ext>
                </a:extLst>
              </p:cNvPr>
              <p:cNvCxnSpPr/>
              <p:nvPr userDrawn="1"/>
            </p:nvCxnSpPr>
            <p:spPr>
              <a:xfrm flipH="1">
                <a:off x="0" y="16302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73384F88-CFC2-485A-85E5-BC9A387E70FA}"/>
                  </a:ext>
                </a:extLst>
              </p:cNvPr>
              <p:cNvCxnSpPr/>
              <p:nvPr userDrawn="1"/>
            </p:nvCxnSpPr>
            <p:spPr>
              <a:xfrm flipH="1">
                <a:off x="0" y="19754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7C0AFBD-D26D-4ADF-A7A4-2C3FA6041EFE}"/>
                  </a:ext>
                </a:extLst>
              </p:cNvPr>
              <p:cNvCxnSpPr/>
              <p:nvPr userDrawn="1"/>
            </p:nvCxnSpPr>
            <p:spPr>
              <a:xfrm flipH="1">
                <a:off x="0" y="23206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DB0F5EF3-3B04-4F24-AAF0-42DB116656FA}"/>
                  </a:ext>
                </a:extLst>
              </p:cNvPr>
              <p:cNvCxnSpPr/>
              <p:nvPr userDrawn="1"/>
            </p:nvCxnSpPr>
            <p:spPr>
              <a:xfrm flipH="1">
                <a:off x="0" y="26658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BCEB7FB8-D33A-40E7-837C-1FA51F98C0D6}"/>
                  </a:ext>
                </a:extLst>
              </p:cNvPr>
              <p:cNvCxnSpPr/>
              <p:nvPr userDrawn="1"/>
            </p:nvCxnSpPr>
            <p:spPr>
              <a:xfrm flipH="1">
                <a:off x="0" y="301110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16B25582-EDFD-47F5-ADFD-07688165CA6C}"/>
                  </a:ext>
                </a:extLst>
              </p:cNvPr>
              <p:cNvCxnSpPr/>
              <p:nvPr userDrawn="1"/>
            </p:nvCxnSpPr>
            <p:spPr>
              <a:xfrm flipH="1">
                <a:off x="0" y="335631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D8EBB482-69CF-40F9-8E45-C88546A14A6E}"/>
                  </a:ext>
                </a:extLst>
              </p:cNvPr>
              <p:cNvCxnSpPr/>
              <p:nvPr userDrawn="1"/>
            </p:nvCxnSpPr>
            <p:spPr>
              <a:xfrm flipH="1">
                <a:off x="0" y="370152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CE2B10BC-DCC9-40B3-82C4-86EB18E49EEC}"/>
                  </a:ext>
                </a:extLst>
              </p:cNvPr>
              <p:cNvCxnSpPr/>
              <p:nvPr userDrawn="1"/>
            </p:nvCxnSpPr>
            <p:spPr>
              <a:xfrm flipH="1">
                <a:off x="0" y="40467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2E5809F8-35AA-4D63-B6C8-44DAA8666405}"/>
                  </a:ext>
                </a:extLst>
              </p:cNvPr>
              <p:cNvCxnSpPr/>
              <p:nvPr userDrawn="1"/>
            </p:nvCxnSpPr>
            <p:spPr>
              <a:xfrm flipH="1">
                <a:off x="0" y="43919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3A46BE4C-4471-46C7-A09E-442332E02E5B}"/>
                  </a:ext>
                </a:extLst>
              </p:cNvPr>
              <p:cNvCxnSpPr/>
              <p:nvPr userDrawn="1"/>
            </p:nvCxnSpPr>
            <p:spPr>
              <a:xfrm flipH="1">
                <a:off x="0" y="47371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52072814-59AF-4554-A7A1-BB6D9C0EED50}"/>
                  </a:ext>
                </a:extLst>
              </p:cNvPr>
              <p:cNvCxnSpPr/>
              <p:nvPr userDrawn="1"/>
            </p:nvCxnSpPr>
            <p:spPr>
              <a:xfrm flipH="1">
                <a:off x="0" y="50823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C32D6D8F-072E-4B53-B77E-DC633C5DA123}"/>
                  </a:ext>
                </a:extLst>
              </p:cNvPr>
              <p:cNvCxnSpPr/>
              <p:nvPr userDrawn="1"/>
            </p:nvCxnSpPr>
            <p:spPr>
              <a:xfrm flipH="1">
                <a:off x="0" y="54275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C36E0E73-A5E6-4E43-A3EA-1688EAC87F2E}"/>
                  </a:ext>
                </a:extLst>
              </p:cNvPr>
              <p:cNvCxnSpPr/>
              <p:nvPr userDrawn="1"/>
            </p:nvCxnSpPr>
            <p:spPr>
              <a:xfrm flipH="1">
                <a:off x="0" y="57727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364620E0-5F0B-419B-9A61-2736EE017C27}"/>
                  </a:ext>
                </a:extLst>
              </p:cNvPr>
              <p:cNvCxnSpPr/>
              <p:nvPr userDrawn="1"/>
            </p:nvCxnSpPr>
            <p:spPr>
              <a:xfrm flipH="1">
                <a:off x="0" y="9398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3600B6D8-8A6B-4BA6-9922-580E6EF2B022}"/>
                  </a:ext>
                </a:extLst>
              </p:cNvPr>
              <p:cNvCxnSpPr/>
              <p:nvPr userDrawn="1"/>
            </p:nvCxnSpPr>
            <p:spPr>
              <a:xfrm flipH="1">
                <a:off x="0" y="5946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779A02F2-15A0-4404-89EA-FD88F74D3901}"/>
                  </a:ext>
                </a:extLst>
              </p:cNvPr>
              <p:cNvCxnSpPr/>
              <p:nvPr userDrawn="1"/>
            </p:nvCxnSpPr>
            <p:spPr>
              <a:xfrm flipH="1">
                <a:off x="0" y="61179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Major-Baselines">
              <a:extLst>
                <a:ext uri="{FF2B5EF4-FFF2-40B4-BE49-F238E27FC236}">
                  <a16:creationId xmlns:a16="http://schemas.microsoft.com/office/drawing/2014/main" id="{6BF42672-DF70-44F3-B7CA-14A6979B434F}"/>
                </a:ext>
              </a:extLst>
            </p:cNvPr>
            <p:cNvGrpSpPr/>
            <p:nvPr userDrawn="1"/>
          </p:nvGrpSpPr>
          <p:grpSpPr>
            <a:xfrm>
              <a:off x="0" y="767240"/>
              <a:ext cx="12192000" cy="5178150"/>
              <a:chOff x="0" y="767240"/>
              <a:chExt cx="12192000" cy="5178150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F9CF9ECB-458C-47D9-B4BC-21087E05A585}"/>
                  </a:ext>
                </a:extLst>
              </p:cNvPr>
              <p:cNvCxnSpPr/>
              <p:nvPr/>
            </p:nvCxnSpPr>
            <p:spPr>
              <a:xfrm flipH="1">
                <a:off x="0" y="14576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36C496AA-6375-48D7-856A-D734E8E4CC99}"/>
                  </a:ext>
                </a:extLst>
              </p:cNvPr>
              <p:cNvCxnSpPr/>
              <p:nvPr/>
            </p:nvCxnSpPr>
            <p:spPr>
              <a:xfrm flipH="1">
                <a:off x="0" y="18028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08EA394B-F758-47C2-8E09-4C30FE4E9810}"/>
                  </a:ext>
                </a:extLst>
              </p:cNvPr>
              <p:cNvCxnSpPr/>
              <p:nvPr/>
            </p:nvCxnSpPr>
            <p:spPr>
              <a:xfrm flipH="1">
                <a:off x="0" y="21480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12C99AEE-DED4-4917-B2D7-796AEC3A484F}"/>
                  </a:ext>
                </a:extLst>
              </p:cNvPr>
              <p:cNvCxnSpPr/>
              <p:nvPr/>
            </p:nvCxnSpPr>
            <p:spPr>
              <a:xfrm flipH="1">
                <a:off x="0" y="24932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9C5D77AD-8508-45AD-834F-CE4F2430EA20}"/>
                  </a:ext>
                </a:extLst>
              </p:cNvPr>
              <p:cNvCxnSpPr/>
              <p:nvPr/>
            </p:nvCxnSpPr>
            <p:spPr>
              <a:xfrm flipH="1">
                <a:off x="0" y="283850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04E9F12A-A21A-40D7-AC40-55C2530CAAF2}"/>
                  </a:ext>
                </a:extLst>
              </p:cNvPr>
              <p:cNvCxnSpPr/>
              <p:nvPr/>
            </p:nvCxnSpPr>
            <p:spPr>
              <a:xfrm flipH="1">
                <a:off x="0" y="318371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E75DAFB1-56AC-4F65-BCF8-63F8201D42F1}"/>
                  </a:ext>
                </a:extLst>
              </p:cNvPr>
              <p:cNvCxnSpPr/>
              <p:nvPr/>
            </p:nvCxnSpPr>
            <p:spPr>
              <a:xfrm flipH="1">
                <a:off x="0" y="352892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57C01E0A-93E3-4ED0-B575-9CCBF85B5EB0}"/>
                  </a:ext>
                </a:extLst>
              </p:cNvPr>
              <p:cNvCxnSpPr/>
              <p:nvPr/>
            </p:nvCxnSpPr>
            <p:spPr>
              <a:xfrm flipH="1">
                <a:off x="0" y="387413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5EB4A7E-05D6-4483-9749-137062ABB64E}"/>
                  </a:ext>
                </a:extLst>
              </p:cNvPr>
              <p:cNvCxnSpPr/>
              <p:nvPr/>
            </p:nvCxnSpPr>
            <p:spPr>
              <a:xfrm flipH="1">
                <a:off x="0" y="42193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0185FF42-7436-456C-B038-DF7FCC9B86C4}"/>
                  </a:ext>
                </a:extLst>
              </p:cNvPr>
              <p:cNvCxnSpPr/>
              <p:nvPr/>
            </p:nvCxnSpPr>
            <p:spPr>
              <a:xfrm flipH="1">
                <a:off x="0" y="45645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F71B5F2E-D126-4777-9BB0-A0FAB3F2CAFD}"/>
                  </a:ext>
                </a:extLst>
              </p:cNvPr>
              <p:cNvCxnSpPr/>
              <p:nvPr/>
            </p:nvCxnSpPr>
            <p:spPr>
              <a:xfrm flipH="1">
                <a:off x="0" y="49097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00090F01-D3B0-4CC1-B868-3834E45B2BEF}"/>
                  </a:ext>
                </a:extLst>
              </p:cNvPr>
              <p:cNvCxnSpPr/>
              <p:nvPr/>
            </p:nvCxnSpPr>
            <p:spPr>
              <a:xfrm flipH="1">
                <a:off x="0" y="52549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B49511C0-4CC6-4C57-BD16-06DFA68C5177}"/>
                  </a:ext>
                </a:extLst>
              </p:cNvPr>
              <p:cNvCxnSpPr/>
              <p:nvPr/>
            </p:nvCxnSpPr>
            <p:spPr>
              <a:xfrm flipH="1">
                <a:off x="0" y="56001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823DBF0E-1AA8-4FBC-BFCF-C35A665C6AAD}"/>
                  </a:ext>
                </a:extLst>
              </p:cNvPr>
              <p:cNvCxnSpPr/>
              <p:nvPr/>
            </p:nvCxnSpPr>
            <p:spPr>
              <a:xfrm flipH="1">
                <a:off x="0" y="59453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6F927AE-A157-4A95-BD1F-5D4003848AE5}"/>
                  </a:ext>
                </a:extLst>
              </p:cNvPr>
              <p:cNvCxnSpPr/>
              <p:nvPr/>
            </p:nvCxnSpPr>
            <p:spPr>
              <a:xfrm flipH="1">
                <a:off x="0" y="11124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AF1893BF-3A5C-45A7-80A6-F95888D2C2E9}"/>
                  </a:ext>
                </a:extLst>
              </p:cNvPr>
              <p:cNvCxnSpPr/>
              <p:nvPr/>
            </p:nvCxnSpPr>
            <p:spPr>
              <a:xfrm flipH="1">
                <a:off x="0" y="7672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Margins">
              <a:extLst>
                <a:ext uri="{FF2B5EF4-FFF2-40B4-BE49-F238E27FC236}">
                  <a16:creationId xmlns:a16="http://schemas.microsoft.com/office/drawing/2014/main" id="{1987983C-C65D-47F1-8B52-9BB74C6156DF}"/>
                </a:ext>
              </a:extLst>
            </p:cNvPr>
            <p:cNvGrpSpPr/>
            <p:nvPr userDrawn="1"/>
          </p:nvGrpSpPr>
          <p:grpSpPr>
            <a:xfrm>
              <a:off x="0" y="-1"/>
              <a:ext cx="12192000" cy="6858001"/>
              <a:chOff x="0" y="-1"/>
              <a:chExt cx="12192000" cy="6858001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2D64F71A-57E0-44C6-B31D-7B42B82DD2CE}"/>
                  </a:ext>
                </a:extLst>
              </p:cNvPr>
              <p:cNvGrpSpPr/>
              <p:nvPr userDrawn="1"/>
            </p:nvGrpSpPr>
            <p:grpSpPr>
              <a:xfrm>
                <a:off x="450166" y="-1"/>
                <a:ext cx="11291668" cy="6858001"/>
                <a:chOff x="450166" y="-295422"/>
                <a:chExt cx="11291668" cy="7491047"/>
              </a:xfrm>
            </p:grpSpPr>
            <p:cxnSp>
              <p:nvCxnSpPr>
                <p:cNvPr id="103" name="Straight Connector 102">
                  <a:extLst>
                    <a:ext uri="{FF2B5EF4-FFF2-40B4-BE49-F238E27FC236}">
                      <a16:creationId xmlns:a16="http://schemas.microsoft.com/office/drawing/2014/main" id="{7D8CFD01-2438-4217-AA3E-AC3BA160D143}"/>
                    </a:ext>
                  </a:extLst>
                </p:cNvPr>
                <p:cNvCxnSpPr/>
                <p:nvPr/>
              </p:nvCxnSpPr>
              <p:spPr>
                <a:xfrm>
                  <a:off x="450166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09FDB0BB-10D1-469E-A843-451C93653F0B}"/>
                    </a:ext>
                  </a:extLst>
                </p:cNvPr>
                <p:cNvCxnSpPr/>
                <p:nvPr/>
              </p:nvCxnSpPr>
              <p:spPr>
                <a:xfrm>
                  <a:off x="11741834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23DA59C4-54B1-44E7-8615-E9D3B756CD6D}"/>
                  </a:ext>
                </a:extLst>
              </p:cNvPr>
              <p:cNvGrpSpPr/>
              <p:nvPr userDrawn="1"/>
            </p:nvGrpSpPr>
            <p:grpSpPr>
              <a:xfrm>
                <a:off x="0" y="422030"/>
                <a:ext cx="12192000" cy="5868573"/>
                <a:chOff x="0" y="422030"/>
                <a:chExt cx="12192000" cy="5868573"/>
              </a:xfrm>
            </p:grpSpPr>
            <p:cxnSp>
              <p:nvCxnSpPr>
                <p:cNvPr id="101" name="Straight Connector 100">
                  <a:extLst>
                    <a:ext uri="{FF2B5EF4-FFF2-40B4-BE49-F238E27FC236}">
                      <a16:creationId xmlns:a16="http://schemas.microsoft.com/office/drawing/2014/main" id="{25110C17-BFAC-419F-917B-35541EA792A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42203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01">
                  <a:extLst>
                    <a:ext uri="{FF2B5EF4-FFF2-40B4-BE49-F238E27FC236}">
                      <a16:creationId xmlns:a16="http://schemas.microsoft.com/office/drawing/2014/main" id="{C9E58F6F-92A5-473B-9FED-3D90ECE09E5D}"/>
                    </a:ext>
                  </a:extLst>
                </p:cNvPr>
                <p:cNvCxnSpPr/>
                <p:nvPr userDrawn="1"/>
              </p:nvCxnSpPr>
              <p:spPr>
                <a:xfrm>
                  <a:off x="0" y="6290603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D0BD5319-1193-4438-BF01-B64CF6D0D212}"/>
                  </a:ext>
                </a:extLst>
              </p:cNvPr>
              <p:cNvGrpSpPr/>
              <p:nvPr userDrawn="1"/>
            </p:nvGrpSpPr>
            <p:grpSpPr>
              <a:xfrm>
                <a:off x="0" y="1457660"/>
                <a:ext cx="12192000" cy="345210"/>
                <a:chOff x="0" y="1457660"/>
                <a:chExt cx="12192000" cy="345210"/>
              </a:xfrm>
            </p:grpSpPr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ED443DF1-4231-4D92-8DA5-C1F4B954AFC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45766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>
                  <a:extLst>
                    <a:ext uri="{FF2B5EF4-FFF2-40B4-BE49-F238E27FC236}">
                      <a16:creationId xmlns:a16="http://schemas.microsoft.com/office/drawing/2014/main" id="{14C68D45-D4C2-497B-A9FF-6ADE11C36C5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80287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1247149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B43DC9BF-B86E-41C3-9025-257603C6C4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3C20BBD-F2FD-4A4D-B556-572D7207BCE8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34" name="Logo">
            <a:extLst>
              <a:ext uri="{FF2B5EF4-FFF2-40B4-BE49-F238E27FC236}">
                <a16:creationId xmlns:a16="http://schemas.microsoft.com/office/drawing/2014/main" id="{E3F269C9-4FA8-4772-AD37-31EE93FFE59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09D9C9E1-25E5-483A-B7BC-660D3D3BFE4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98453535-0FA3-4BC2-896D-B75809B197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Ruler">
            <a:extLst>
              <a:ext uri="{FF2B5EF4-FFF2-40B4-BE49-F238E27FC236}">
                <a16:creationId xmlns:a16="http://schemas.microsoft.com/office/drawing/2014/main" id="{70E5BD5C-60C7-4101-99EB-CFC9224AD7B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B101E02-F838-4187-B559-8AAE85AB8E2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704FBA9-913D-4B32-AC77-21FE53C0763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F7620BDF-DEE5-4359-9427-F80C2D3B2F2A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09FFEF8-C551-442A-BFBE-82B27BAA70D4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30E7191-0FEE-4B6B-AAE0-7E6505AAFF96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0B20760-2C74-490B-8779-0A3CEC331376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2C7CD8C-10E9-4C4D-AF46-8EAA7E7B84D7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1A9DBD41-B998-4B1C-A2AD-746277984ECF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0011DFB-F9A6-4F90-A169-06A40F2D4491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FCB742D-4AAE-446A-95AF-D86CE705B38D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3622024-A6FB-4862-AAA9-378E17CB2F6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DDF8BE4-F228-4207-9F16-38714201F036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F0D7718-987E-4A31-88D8-257BD9D16439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1895AC8-2DE9-4C57-9175-D6619461AA6A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15B7B8D-36D9-46DB-BDD6-8D7FCA31766A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81AF8FD-CBB7-47C3-92D4-68F412B850C3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75397F3-9A79-4A57-9C34-2D06B47E2F34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17F042D-D6EC-49C7-8409-4FB587063A25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F47560C-6D83-4B1E-A656-E798CCE71DB3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Speaker Name">
            <a:extLst>
              <a:ext uri="{FF2B5EF4-FFF2-40B4-BE49-F238E27FC236}">
                <a16:creationId xmlns:a16="http://schemas.microsoft.com/office/drawing/2014/main" id="{0D03EEEE-B07B-48F4-B55F-C322BA4FCC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Name</a:t>
            </a:r>
          </a:p>
        </p:txBody>
      </p:sp>
      <p:sp>
        <p:nvSpPr>
          <p:cNvPr id="58" name="Text Placeholder 128">
            <a:extLst>
              <a:ext uri="{FF2B5EF4-FFF2-40B4-BE49-F238E27FC236}">
                <a16:creationId xmlns:a16="http://schemas.microsoft.com/office/drawing/2014/main" id="{02F3F674-6E3E-4B4F-A461-192B2E1A3E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 dirty="0"/>
              <a:t>YYYY.MM.DD</a:t>
            </a:r>
          </a:p>
        </p:txBody>
      </p:sp>
      <p:sp>
        <p:nvSpPr>
          <p:cNvPr id="59" name="Speaker Title">
            <a:extLst>
              <a:ext uri="{FF2B5EF4-FFF2-40B4-BE49-F238E27FC236}">
                <a16:creationId xmlns:a16="http://schemas.microsoft.com/office/drawing/2014/main" id="{058F1415-E1D6-47DA-A185-76C3FC2257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Title / Company Nam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5B3A83E2-FA5C-4BC9-8B76-2DE81BEB61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3329295" y="2440333"/>
            <a:ext cx="5533406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 algn="ctr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4F1EC20-D177-4F9A-AF02-5ABB483C64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935570"/>
            <a:ext cx="9372600" cy="1335024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with Subtitle Lay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0DA467-6522-4105-A238-D69A42AC0280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8351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ure">
            <a:extLst>
              <a:ext uri="{FF2B5EF4-FFF2-40B4-BE49-F238E27FC236}">
                <a16:creationId xmlns:a16="http://schemas.microsoft.com/office/drawing/2014/main" id="{8069FB3F-2D73-4C3F-A7A8-E6A22F71C3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544ECD5-A100-4CBB-BE85-5E2DB93996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1034" b="37183"/>
          <a:stretch/>
        </p:blipFill>
        <p:spPr>
          <a:xfrm>
            <a:off x="0" y="5372101"/>
            <a:ext cx="2354138" cy="1485900"/>
          </a:xfrm>
          <a:prstGeom prst="rect">
            <a:avLst/>
          </a:prstGeom>
        </p:spPr>
      </p:pic>
      <p:sp>
        <p:nvSpPr>
          <p:cNvPr id="5" name="Subtitle">
            <a:extLst>
              <a:ext uri="{FF2B5EF4-FFF2-40B4-BE49-F238E27FC236}">
                <a16:creationId xmlns:a16="http://schemas.microsoft.com/office/drawing/2014/main" id="{1C588A51-7159-4E94-9856-B64483B8F9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479908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 (Delete if not used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11C21-4702-4664-8D59-793314F8E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528919"/>
            <a:ext cx="9372600" cy="121439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Segue Lay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052D0D-2EA4-4CCE-90FA-A02A78C3585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C761C9BF-9222-4B2A-A19A-B5A2710D93B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8" name="Logo">
            <a:extLst>
              <a:ext uri="{FF2B5EF4-FFF2-40B4-BE49-F238E27FC236}">
                <a16:creationId xmlns:a16="http://schemas.microsoft.com/office/drawing/2014/main" id="{507CC42B-659C-4CD4-9F20-358BBD7B0A6B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48801B8-52B3-47AC-9853-2375E256E3A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64F20CB9-4127-4672-B9D3-714FA916023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420317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ADC8EF-0ABA-4B52-AEA2-7A3943163E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2B8CEC4-B0CD-4400-A6AD-DD3E12310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</a:t>
            </a:r>
          </a:p>
        </p:txBody>
      </p:sp>
    </p:spTree>
    <p:extLst>
      <p:ext uri="{BB962C8B-B14F-4D97-AF65-F5344CB8AC3E}">
        <p14:creationId xmlns:p14="http://schemas.microsoft.com/office/powerpoint/2010/main" val="13761822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1129284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On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450025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8776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08BA35-76C2-4ED8-B770-6CBDC27C82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187FFC-2B63-49CE-B2BC-B238E1BC7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 Column Layout</a:t>
            </a:r>
          </a:p>
        </p:txBody>
      </p:sp>
    </p:spTree>
    <p:extLst>
      <p:ext uri="{BB962C8B-B14F-4D97-AF65-F5344CB8AC3E}">
        <p14:creationId xmlns:p14="http://schemas.microsoft.com/office/powerpoint/2010/main" val="1645166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E7D5292-8D24-405D-9E5D-79D2DD40F68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29016" y="1802869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89298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04F64A-6956-41D3-B0E4-CCC3453A7F7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030608-2773-46C2-905B-B17C3B831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hre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3114457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99E3BF3-DA31-48DD-AC45-91FC2DBAAD4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51704" y="0"/>
            <a:ext cx="6940296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82296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Click icon below to insert pictur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1368"/>
            <a:ext cx="4206240" cy="448056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420624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.I.N.U.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051183-1C65-4067-A80F-CAB4F09E82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72339"/>
            <a:ext cx="4206240" cy="49244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Photo Right Layout</a:t>
            </a:r>
          </a:p>
        </p:txBody>
      </p:sp>
    </p:spTree>
    <p:extLst>
      <p:ext uri="{BB962C8B-B14F-4D97-AF65-F5344CB8AC3E}">
        <p14:creationId xmlns:p14="http://schemas.microsoft.com/office/powerpoint/2010/main" val="3141418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One Column Layout</a:t>
            </a:r>
          </a:p>
        </p:txBody>
      </p:sp>
      <p:sp>
        <p:nvSpPr>
          <p:cNvPr id="6" name="Content Placeholder 11">
            <a:extLst>
              <a:ext uri="{FF2B5EF4-FFF2-40B4-BE49-F238E27FC236}">
                <a16:creationId xmlns:a16="http://schemas.microsoft.com/office/drawing/2014/main" id="{A6A5F327-94E3-4266-9A78-098328E7FCB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11292840" cy="4479059"/>
          </a:xfrm>
        </p:spPr>
        <p:txBody>
          <a:bodyPr/>
          <a:lstStyle>
            <a:lvl1pPr marL="346075" indent="-346075"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514350" indent="-168275">
              <a:defRPr>
                <a:solidFill>
                  <a:schemeClr val="tx1"/>
                </a:solidFill>
              </a:defRPr>
            </a:lvl2pPr>
            <a:lvl3pPr marL="685800" indent="-171450">
              <a:defRPr>
                <a:solidFill>
                  <a:schemeClr val="tx1"/>
                </a:solidFill>
              </a:defRPr>
            </a:lvl3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1459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446518C-C5C5-4D58-B4D2-B85C0BD81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/>
          <a:srcRect l="15280" b="23627"/>
          <a:stretch/>
        </p:blipFill>
        <p:spPr>
          <a:xfrm>
            <a:off x="0" y="6024563"/>
            <a:ext cx="2112478" cy="83343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098CF84-0D02-4614-8A26-93A1CB865A2B}"/>
              </a:ext>
            </a:extLst>
          </p:cNvPr>
          <p:cNvSpPr/>
          <p:nvPr userDrawn="1"/>
        </p:nvSpPr>
        <p:spPr>
          <a:xfrm>
            <a:off x="0" y="0"/>
            <a:ext cx="327025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773789E-1482-4DF2-AC34-ED595BC86F6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14A8E363-B738-48A5-915F-96EF63027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9201" y="1802870"/>
            <a:ext cx="11293597" cy="44757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: Bullet, 20pt</a:t>
            </a:r>
          </a:p>
          <a:p>
            <a:pPr lvl="1"/>
            <a:r>
              <a:rPr lang="en-US" dirty="0"/>
              <a:t>Second level: Sub-bullet 1, 18pt</a:t>
            </a:r>
          </a:p>
          <a:p>
            <a:pPr lvl="2"/>
            <a:r>
              <a:rPr lang="en-US" dirty="0"/>
              <a:t>Third level: Sub-bullet 2, 16pt</a:t>
            </a:r>
          </a:p>
          <a:p>
            <a:pPr lvl="3"/>
            <a:r>
              <a:rPr lang="en-US" dirty="0"/>
              <a:t>Fourth level: Heading 1, 28pt</a:t>
            </a:r>
          </a:p>
          <a:p>
            <a:pPr lvl="4"/>
            <a:r>
              <a:rPr lang="en-US" dirty="0"/>
              <a:t>Fifth level: Description 1, 18pt</a:t>
            </a:r>
          </a:p>
          <a:p>
            <a:pPr lvl="5"/>
            <a:r>
              <a:rPr lang="en-US" dirty="0"/>
              <a:t>Sixth level: Heading 2, 22pt</a:t>
            </a:r>
          </a:p>
          <a:p>
            <a:pPr lvl="6"/>
            <a:r>
              <a:rPr lang="en-US" dirty="0"/>
              <a:t>Seventh level: Description 2, 16pt</a:t>
            </a:r>
          </a:p>
          <a:p>
            <a:pPr lvl="7"/>
            <a:r>
              <a:rPr lang="en-US" dirty="0"/>
              <a:t>Eighth level: Stats 1, 36pt</a:t>
            </a:r>
          </a:p>
          <a:p>
            <a:pPr lvl="8"/>
            <a:r>
              <a:rPr lang="en-US" dirty="0"/>
              <a:t>Ninth level: Stats 2, 48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49202" y="372339"/>
            <a:ext cx="11293597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, 32pt</a:t>
            </a:r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CBB5A743-284E-4F77-9C07-20F6113DB3B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BB597971-37D3-4BC0-93F4-2E4A0C596B8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710CFBDD-008A-42F6-B152-7F57EF7924F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7BE8C-9254-49C6-B935-75CCECC5C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7297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Optional Titl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362308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20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41" r:id="rId9"/>
    <p:sldLayoutId id="2147483698" r:id="rId10"/>
    <p:sldLayoutId id="2147483740" r:id="rId11"/>
    <p:sldLayoutId id="2147483735" r:id="rId12"/>
    <p:sldLayoutId id="2147483738" r:id="rId13"/>
    <p:sldLayoutId id="2147483737" r:id="rId14"/>
    <p:sldLayoutId id="2147483732" r:id="rId15"/>
    <p:sldLayoutId id="2147483728" r:id="rId16"/>
    <p:sldLayoutId id="2147483700" r:id="rId17"/>
    <p:sldLayoutId id="2147483729" r:id="rId18"/>
    <p:sldLayoutId id="2147483702" r:id="rId1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30352" indent="-164592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800" b="1" kern="1200" cap="all" spc="6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Font typeface="Arial" panose="020B0604020202020204" pitchFamily="34" charset="0"/>
        <a:buChar char="​"/>
        <a:defRPr lang="en-US" sz="1800" b="0" kern="1200" cap="none" spc="0" baseline="0" dirty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200" b="1" kern="1200" cap="all" spc="60" baseline="0" dirty="0" smtClean="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200"/>
        </a:spcBef>
        <a:spcAft>
          <a:spcPts val="600"/>
        </a:spcAft>
        <a:buFont typeface="Arial" panose="020B0604020202020204" pitchFamily="34" charset="0"/>
        <a:buChar char="​"/>
        <a:defRPr lang="en-US" sz="1600" kern="120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36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48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7.png"/><Relationship Id="rId4" Type="http://schemas.openxmlformats.org/officeDocument/2006/relationships/image" Target="../media/image106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6.png"/><Relationship Id="rId4" Type="http://schemas.openxmlformats.org/officeDocument/2006/relationships/image" Target="../media/image115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1.png"/><Relationship Id="rId4" Type="http://schemas.openxmlformats.org/officeDocument/2006/relationships/image" Target="../media/image12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5.png"/><Relationship Id="rId4" Type="http://schemas.openxmlformats.org/officeDocument/2006/relationships/image" Target="../media/image124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0.png"/><Relationship Id="rId4" Type="http://schemas.openxmlformats.org/officeDocument/2006/relationships/image" Target="../media/image129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4.png"/><Relationship Id="rId4" Type="http://schemas.openxmlformats.org/officeDocument/2006/relationships/image" Target="../media/image133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9.png"/><Relationship Id="rId4" Type="http://schemas.openxmlformats.org/officeDocument/2006/relationships/image" Target="../media/image138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43.png"/><Relationship Id="rId4" Type="http://schemas.openxmlformats.org/officeDocument/2006/relationships/image" Target="../media/image142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2354EF-88AF-4F94-A95E-F46279720F9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Speaker Title / Company Nam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264F6-154F-4FCD-BBB3-C459A3ADE64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YYYY.MM.DD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045F46-8A88-4D88-B390-270E330FCB8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Speaker Nam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14E67-E40F-41CB-9B53-C634BFE3E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XT2 Evaluation</a:t>
            </a:r>
          </a:p>
        </p:txBody>
      </p:sp>
    </p:spTree>
    <p:extLst>
      <p:ext uri="{BB962C8B-B14F-4D97-AF65-F5344CB8AC3E}">
        <p14:creationId xmlns:p14="http://schemas.microsoft.com/office/powerpoint/2010/main" val="3797425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BBEBE7D-2489-4965-A4E3-64B7FF5333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25F63D-C67C-40C1-8848-73DD088847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CC58CD4-85F8-40C0-A3F1-F87B660CE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TOI</a:t>
            </a:r>
            <a:r>
              <a:rPr lang="en-US" altLang="zh-CN" dirty="0"/>
              <a:t>=15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EFC256BB-8ADA-4E9E-B323-12F296FA89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3206262" cy="2003914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C62A981A-84AA-4437-9F82-7F26AE4E8E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413445"/>
            <a:ext cx="10448925" cy="152400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A92EB0EA-5521-4628-83FC-F5F19B1119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71747" y="1551786"/>
            <a:ext cx="3235936" cy="1785538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158DE376-F8D8-4B83-8509-737E61D73C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48526" y="1511087"/>
            <a:ext cx="3626498" cy="2015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9042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B926970-926D-49D3-ADA4-1F4E6AD249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12FA8CD-C61B-402C-928A-7F8D7EB074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855F5076-31A4-43B8-9D0A-F7BA420F47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401DCA91-629B-436A-9149-1AF11BE3351E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370282"/>
            <a:ext cx="8045590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0372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F28267F-5ABA-4330-B1D8-B518B54AD0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7BDF201-C600-4DEA-826C-814F1791BE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79CEB599-4B04-4204-A7F4-8D7DAAC6DD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hase Noise Test</a:t>
            </a:r>
            <a:endParaRPr lang="zh-CN" altLang="en-US" dirty="0"/>
          </a:p>
        </p:txBody>
      </p:sp>
      <p:sp>
        <p:nvSpPr>
          <p:cNvPr id="6" name="内容占位符 1">
            <a:extLst>
              <a:ext uri="{FF2B5EF4-FFF2-40B4-BE49-F238E27FC236}">
                <a16:creationId xmlns:a16="http://schemas.microsoft.com/office/drawing/2014/main" id="{303C5B77-8AB6-4CDA-A0FF-B50F7FA92DEA}"/>
              </a:ext>
            </a:extLst>
          </p:cNvPr>
          <p:cNvSpPr txBox="1">
            <a:spLocks/>
          </p:cNvSpPr>
          <p:nvPr/>
        </p:nvSpPr>
        <p:spPr>
          <a:xfrm>
            <a:off x="449201" y="1518511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Phase Noise Change 10dB:                                             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/>
              <a:t>GainImb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>
                <a:highlight>
                  <a:srgbClr val="FFFF00"/>
                </a:highlight>
              </a:rPr>
              <a:t>Phase Noise =[100, -87.133, 1000, -96.072, 1e5, -108.607];</a:t>
            </a:r>
          </a:p>
          <a:p>
            <a:r>
              <a:rPr lang="en-US" altLang="zh-CN" dirty="0"/>
              <a:t> </a:t>
            </a:r>
            <a:r>
              <a:rPr lang="en-US" altLang="zh-CN" dirty="0" err="1"/>
              <a:t>PA_TOIout</a:t>
            </a:r>
            <a:r>
              <a:rPr lang="en-US" altLang="zh-CN" dirty="0"/>
              <a:t>=20</a:t>
            </a:r>
            <a:endParaRPr lang="zh-CN" altLang="en-US" dirty="0"/>
          </a:p>
        </p:txBody>
      </p:sp>
      <p:sp>
        <p:nvSpPr>
          <p:cNvPr id="7" name="内容占位符 1">
            <a:extLst>
              <a:ext uri="{FF2B5EF4-FFF2-40B4-BE49-F238E27FC236}">
                <a16:creationId xmlns:a16="http://schemas.microsoft.com/office/drawing/2014/main" id="{5E3BB491-32ED-463E-AD0B-3549733DCE8A}"/>
              </a:ext>
            </a:extLst>
          </p:cNvPr>
          <p:cNvSpPr txBox="1">
            <a:spLocks/>
          </p:cNvSpPr>
          <p:nvPr/>
        </p:nvSpPr>
        <p:spPr>
          <a:xfrm>
            <a:off x="6386766" y="1518511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Phase Noise Change 15dB:                                             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/>
              <a:t>GainImb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>
                <a:highlight>
                  <a:srgbClr val="FFFF00"/>
                </a:highlight>
              </a:rPr>
              <a:t>Phase Noise =[100, -82.133, 1000, -91.072, 1e5, -103.607];</a:t>
            </a:r>
          </a:p>
          <a:p>
            <a:r>
              <a:rPr lang="en-US" altLang="zh-CN" dirty="0"/>
              <a:t> </a:t>
            </a:r>
            <a:r>
              <a:rPr lang="en-US" altLang="zh-CN" dirty="0" err="1"/>
              <a:t>PA_TOIout</a:t>
            </a:r>
            <a:r>
              <a:rPr lang="en-US" altLang="zh-CN" dirty="0"/>
              <a:t>=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312622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C492524-AFCE-437D-AD87-0BCDE914F0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5E22A941-8234-4731-A0B0-82732013E69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FDA1057E-0E31-4D91-AF63-9FA1607F30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PhaseNoise</a:t>
            </a:r>
            <a:r>
              <a:rPr lang="en-US" altLang="zh-CN" dirty="0"/>
              <a:t> -10dB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0D73AE20-D005-4952-95D6-5233072A4A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2707237" cy="2030428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119EA192-8731-4F7E-B2EB-5C21D74204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422970"/>
            <a:ext cx="10239375" cy="151447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D72E6297-829F-4798-BB3B-F962083651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75909" y="1440439"/>
            <a:ext cx="3692770" cy="2078797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09707840-A4A7-470F-8279-F1B5490E97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88151" y="1440439"/>
            <a:ext cx="3400425" cy="1890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2023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214C573-2899-4AFE-A844-5D1B4B35E7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1E7E8C5-A3D3-4414-B0C6-6DB70B15CE1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589247FE-15C3-48B8-82FA-61491C84D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PhaseNoise</a:t>
            </a:r>
            <a:r>
              <a:rPr lang="en-US" altLang="zh-CN" dirty="0"/>
              <a:t> -10dB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6A0B12FB-E38B-4AC1-B5DB-42814CA438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2977662" cy="1861039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EE940282-7D5B-4008-A64D-931A502E9D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001233"/>
            <a:ext cx="10363200" cy="158115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B3DD69EA-8A21-4420-8555-5AD63E957C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09596" y="1414917"/>
            <a:ext cx="3620965" cy="2014083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566B1FC5-4828-4B9A-8E18-516E5F2EDF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7595" y="1370282"/>
            <a:ext cx="3620966" cy="202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8272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42D33D3-500E-4CB6-86C6-EF196B29DC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D79E7460-D339-408C-B0C5-4153283629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2073DB49-E86A-463D-AE11-95DB59150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A791EA91-F39E-4259-AE8D-05C005E66779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370282"/>
            <a:ext cx="8059606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5836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CDF77D3-3BDB-49C1-8A0A-691626AFEA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7F769CD-B7BF-4183-B5F4-B8543BA02C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D9A7599F-9191-45BC-A6DA-A2D9756B3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PhaseNoise</a:t>
            </a:r>
            <a:r>
              <a:rPr lang="en-US" altLang="zh-CN" dirty="0"/>
              <a:t> -15dB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ADD72C0-8DBB-48E2-AF0E-60DB9F48DD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477" y="1314509"/>
            <a:ext cx="3593123" cy="2694842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52A5B8B7-65CD-4B6B-80EC-70FB5521F6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477" y="4356786"/>
            <a:ext cx="9982200" cy="174307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11ED7BFC-6FDB-4017-8AB1-F7C406B7D1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6096" y="1627889"/>
            <a:ext cx="3254986" cy="1801111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EBFB6145-8484-4690-B185-AB080DD97F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68578" y="1733789"/>
            <a:ext cx="2848342" cy="1589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3075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A3294A8-D64E-49DD-A361-11207720DE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501213BC-3AA5-453A-9A10-080F1589D3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A0471186-2298-41F0-BAF5-679CB607C9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PhaseNoise</a:t>
            </a:r>
            <a:r>
              <a:rPr lang="en-US" altLang="zh-CN" dirty="0"/>
              <a:t> -15dB</a:t>
            </a:r>
            <a:endParaRPr lang="zh-CN" alt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E9B05BB1-6025-4682-BDC9-772089F704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14509"/>
            <a:ext cx="3910819" cy="2444262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AE017E29-5D10-4ABA-9E49-B8016716FC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306033"/>
            <a:ext cx="10172700" cy="142875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115C2C7C-C983-4747-BD20-863B386CAB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32789" y="1718936"/>
            <a:ext cx="3154974" cy="1746698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5BEE8806-2525-479C-80C5-88C0A78BB4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31982" y="1705181"/>
            <a:ext cx="3150211" cy="175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3747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BD5D37B-AB09-4E1A-A57D-2C03FB030B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54491CC-0DF8-4DA0-83A1-4CE00C7E7BF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51FD9AD0-943F-4CBC-918E-B978412F3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487476B7-B0C2-44D2-A8AE-F2115C8409F5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16870"/>
            <a:ext cx="8038581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2394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BA52BE-135E-4850-8A33-35FD238578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735951-A22C-4FA9-BB9B-7C1FACD59E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F4414CE-4884-4AFA-928D-6FFCB145B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AC_Nbits</a:t>
            </a:r>
            <a:r>
              <a:rPr lang="en-US" dirty="0"/>
              <a:t> Test</a:t>
            </a:r>
          </a:p>
        </p:txBody>
      </p:sp>
      <p:sp>
        <p:nvSpPr>
          <p:cNvPr id="8" name="内容占位符 1">
            <a:extLst>
              <a:ext uri="{FF2B5EF4-FFF2-40B4-BE49-F238E27FC236}">
                <a16:creationId xmlns:a16="http://schemas.microsoft.com/office/drawing/2014/main" id="{FBC48A7C-3B5B-455E-B2A2-45E0BD41A225}"/>
              </a:ext>
            </a:extLst>
          </p:cNvPr>
          <p:cNvSpPr txBox="1">
            <a:spLocks/>
          </p:cNvSpPr>
          <p:nvPr/>
        </p:nvSpPr>
        <p:spPr>
          <a:xfrm>
            <a:off x="449201" y="1712333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err="1"/>
              <a:t>DAC_Nbits</a:t>
            </a:r>
            <a:r>
              <a:rPr lang="en-US" altLang="zh-CN" dirty="0"/>
              <a:t> Org :                                             </a:t>
            </a:r>
          </a:p>
          <a:p>
            <a:r>
              <a:rPr lang="en-US" altLang="zh-CN" dirty="0" err="1">
                <a:highlight>
                  <a:srgbClr val="FFFF00"/>
                </a:highlight>
              </a:rPr>
              <a:t>DAC_Nbits</a:t>
            </a:r>
            <a:r>
              <a:rPr lang="en-US" altLang="zh-CN" dirty="0">
                <a:highlight>
                  <a:srgbClr val="FFFF00"/>
                </a:highlight>
              </a:rPr>
              <a:t>=14</a:t>
            </a:r>
          </a:p>
          <a:p>
            <a:r>
              <a:rPr lang="en-US" altLang="zh-CN" dirty="0" err="1"/>
              <a:t>GainImb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 =[100, -97.133, 1000, -106.072, 1e5, -118.607]; </a:t>
            </a:r>
            <a:r>
              <a:rPr lang="en-US" altLang="zh-CN" dirty="0" err="1"/>
              <a:t>PA_TOIout</a:t>
            </a:r>
            <a:r>
              <a:rPr lang="en-US" altLang="zh-CN" dirty="0"/>
              <a:t>=20</a:t>
            </a:r>
            <a:endParaRPr lang="zh-CN" altLang="en-US" dirty="0"/>
          </a:p>
        </p:txBody>
      </p:sp>
      <p:sp>
        <p:nvSpPr>
          <p:cNvPr id="9" name="内容占位符 1">
            <a:extLst>
              <a:ext uri="{FF2B5EF4-FFF2-40B4-BE49-F238E27FC236}">
                <a16:creationId xmlns:a16="http://schemas.microsoft.com/office/drawing/2014/main" id="{42E88126-CB59-45F2-B9CE-9C77EC359DA6}"/>
              </a:ext>
            </a:extLst>
          </p:cNvPr>
          <p:cNvSpPr txBox="1">
            <a:spLocks/>
          </p:cNvSpPr>
          <p:nvPr/>
        </p:nvSpPr>
        <p:spPr>
          <a:xfrm>
            <a:off x="4176096" y="1712332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err="1"/>
              <a:t>DAC_Nbits</a:t>
            </a:r>
            <a:r>
              <a:rPr lang="en-US" altLang="zh-CN" dirty="0"/>
              <a:t> Change 12:                                             </a:t>
            </a:r>
          </a:p>
          <a:p>
            <a:r>
              <a:rPr lang="en-US" altLang="zh-CN" dirty="0" err="1">
                <a:highlight>
                  <a:srgbClr val="FFFF00"/>
                </a:highlight>
              </a:rPr>
              <a:t>DAC_Nbits</a:t>
            </a:r>
            <a:r>
              <a:rPr lang="en-US" altLang="zh-CN" dirty="0">
                <a:highlight>
                  <a:srgbClr val="FFFF00"/>
                </a:highlight>
              </a:rPr>
              <a:t>=12</a:t>
            </a:r>
          </a:p>
          <a:p>
            <a:r>
              <a:rPr lang="en-US" altLang="zh-CN" dirty="0" err="1"/>
              <a:t>GainImb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 =[100, -97.133, 1000, -106.072, 1e5, -118.607]; </a:t>
            </a:r>
            <a:r>
              <a:rPr lang="en-US" altLang="zh-CN" dirty="0" err="1"/>
              <a:t>PA_TOIout</a:t>
            </a:r>
            <a:r>
              <a:rPr lang="en-US" altLang="zh-CN" dirty="0"/>
              <a:t>=20</a:t>
            </a:r>
            <a:endParaRPr lang="zh-CN" altLang="en-US" dirty="0"/>
          </a:p>
        </p:txBody>
      </p:sp>
      <p:sp>
        <p:nvSpPr>
          <p:cNvPr id="10" name="内容占位符 1">
            <a:extLst>
              <a:ext uri="{FF2B5EF4-FFF2-40B4-BE49-F238E27FC236}">
                <a16:creationId xmlns:a16="http://schemas.microsoft.com/office/drawing/2014/main" id="{7013385A-8C67-4F65-BB63-F2FD0EDA37B2}"/>
              </a:ext>
            </a:extLst>
          </p:cNvPr>
          <p:cNvSpPr txBox="1">
            <a:spLocks/>
          </p:cNvSpPr>
          <p:nvPr/>
        </p:nvSpPr>
        <p:spPr>
          <a:xfrm>
            <a:off x="7891604" y="1712331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err="1"/>
              <a:t>DAC_Nbits</a:t>
            </a:r>
            <a:r>
              <a:rPr lang="en-US" altLang="zh-CN" dirty="0"/>
              <a:t> Change 10:                                             </a:t>
            </a:r>
          </a:p>
          <a:p>
            <a:r>
              <a:rPr lang="en-US" altLang="zh-CN" dirty="0" err="1">
                <a:highlight>
                  <a:srgbClr val="FFFF00"/>
                </a:highlight>
              </a:rPr>
              <a:t>DAC_Nbits</a:t>
            </a:r>
            <a:r>
              <a:rPr lang="en-US" altLang="zh-CN" dirty="0">
                <a:highlight>
                  <a:srgbClr val="FFFF00"/>
                </a:highlight>
              </a:rPr>
              <a:t>=10</a:t>
            </a:r>
          </a:p>
          <a:p>
            <a:r>
              <a:rPr lang="en-US" altLang="zh-CN" dirty="0" err="1"/>
              <a:t>GainImb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= [100, -97.133, 1000, -106.072, 1e5, -118.607]; </a:t>
            </a:r>
            <a:r>
              <a:rPr lang="en-US" altLang="zh-CN" dirty="0" err="1"/>
              <a:t>PA_TOIout</a:t>
            </a:r>
            <a:r>
              <a:rPr lang="en-US" altLang="zh-CN" dirty="0"/>
              <a:t>=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922626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BA52BE-135E-4850-8A33-35FD238578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735951-A22C-4FA9-BB9B-7C1FACD59E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F4414CE-4884-4AFA-928D-6FFCB145B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A_TOIout</a:t>
            </a:r>
            <a:r>
              <a:rPr lang="en-US" dirty="0"/>
              <a:t> Test</a:t>
            </a:r>
          </a:p>
        </p:txBody>
      </p:sp>
      <p:sp>
        <p:nvSpPr>
          <p:cNvPr id="8" name="内容占位符 1">
            <a:extLst>
              <a:ext uri="{FF2B5EF4-FFF2-40B4-BE49-F238E27FC236}">
                <a16:creationId xmlns:a16="http://schemas.microsoft.com/office/drawing/2014/main" id="{6636AF1C-8129-41A9-936B-F97A9DFBEEF0}"/>
              </a:ext>
            </a:extLst>
          </p:cNvPr>
          <p:cNvSpPr txBox="1">
            <a:spLocks/>
          </p:cNvSpPr>
          <p:nvPr/>
        </p:nvSpPr>
        <p:spPr>
          <a:xfrm>
            <a:off x="449201" y="1844436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err="1"/>
              <a:t>PA_TOIout</a:t>
            </a:r>
            <a:r>
              <a:rPr lang="en-US" altLang="zh-CN" dirty="0"/>
              <a:t> Org:                                             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/>
              <a:t>GainImb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 =[100, -87.133, 1000, -96.072, 1e5, -108.607];</a:t>
            </a:r>
          </a:p>
          <a:p>
            <a:r>
              <a:rPr lang="en-US" altLang="zh-CN" dirty="0"/>
              <a:t> </a:t>
            </a:r>
            <a:r>
              <a:rPr lang="en-US" altLang="zh-CN" dirty="0" err="1">
                <a:highlight>
                  <a:srgbClr val="FFFF00"/>
                </a:highlight>
              </a:rPr>
              <a:t>PA_TOIout</a:t>
            </a:r>
            <a:r>
              <a:rPr lang="en-US" altLang="zh-CN" dirty="0">
                <a:highlight>
                  <a:srgbClr val="FFFF00"/>
                </a:highlight>
              </a:rPr>
              <a:t>=30</a:t>
            </a:r>
            <a:endParaRPr lang="zh-CN" altLang="en-US" dirty="0">
              <a:highlight>
                <a:srgbClr val="FFFF00"/>
              </a:highlight>
            </a:endParaRPr>
          </a:p>
        </p:txBody>
      </p:sp>
      <p:sp>
        <p:nvSpPr>
          <p:cNvPr id="9" name="内容占位符 1">
            <a:extLst>
              <a:ext uri="{FF2B5EF4-FFF2-40B4-BE49-F238E27FC236}">
                <a16:creationId xmlns:a16="http://schemas.microsoft.com/office/drawing/2014/main" id="{9F222240-E7F1-4DC5-8E12-8A6BA269F254}"/>
              </a:ext>
            </a:extLst>
          </p:cNvPr>
          <p:cNvSpPr txBox="1">
            <a:spLocks/>
          </p:cNvSpPr>
          <p:nvPr/>
        </p:nvSpPr>
        <p:spPr>
          <a:xfrm>
            <a:off x="4345963" y="1844433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err="1"/>
              <a:t>PA_TOIout</a:t>
            </a:r>
            <a:r>
              <a:rPr lang="en-US" altLang="zh-CN" dirty="0"/>
              <a:t> Change 10dB:                                             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/>
              <a:t>GainImb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 =[100, -87.133, 1000, -96.072, 1e5, -108.607];</a:t>
            </a:r>
          </a:p>
          <a:p>
            <a:r>
              <a:rPr lang="en-US" altLang="zh-CN" dirty="0"/>
              <a:t> </a:t>
            </a:r>
            <a:r>
              <a:rPr lang="en-US" altLang="zh-CN" dirty="0" err="1">
                <a:highlight>
                  <a:srgbClr val="FFFF00"/>
                </a:highlight>
              </a:rPr>
              <a:t>PA_TOIout</a:t>
            </a:r>
            <a:r>
              <a:rPr lang="en-US" altLang="zh-CN" dirty="0">
                <a:highlight>
                  <a:srgbClr val="FFFF00"/>
                </a:highlight>
              </a:rPr>
              <a:t>=20</a:t>
            </a:r>
            <a:endParaRPr lang="zh-CN" altLang="en-US" dirty="0">
              <a:highlight>
                <a:srgbClr val="FFFF00"/>
              </a:highlight>
            </a:endParaRPr>
          </a:p>
        </p:txBody>
      </p:sp>
      <p:sp>
        <p:nvSpPr>
          <p:cNvPr id="10" name="内容占位符 1">
            <a:extLst>
              <a:ext uri="{FF2B5EF4-FFF2-40B4-BE49-F238E27FC236}">
                <a16:creationId xmlns:a16="http://schemas.microsoft.com/office/drawing/2014/main" id="{F8A45757-7818-4647-885F-8012563E715A}"/>
              </a:ext>
            </a:extLst>
          </p:cNvPr>
          <p:cNvSpPr txBox="1">
            <a:spLocks/>
          </p:cNvSpPr>
          <p:nvPr/>
        </p:nvSpPr>
        <p:spPr>
          <a:xfrm>
            <a:off x="8242725" y="1844434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err="1"/>
              <a:t>PA_TOIout</a:t>
            </a:r>
            <a:r>
              <a:rPr lang="en-US" altLang="zh-CN" dirty="0"/>
              <a:t> Change 15dB:                                             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/>
              <a:t>GainImb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 =[100, -87.133, 1000, -96.072, 1e5, -108.607];</a:t>
            </a:r>
          </a:p>
          <a:p>
            <a:r>
              <a:rPr lang="en-US" altLang="zh-CN" dirty="0"/>
              <a:t> </a:t>
            </a:r>
            <a:r>
              <a:rPr lang="en-US" altLang="zh-CN" dirty="0" err="1">
                <a:highlight>
                  <a:srgbClr val="FFFF00"/>
                </a:highlight>
              </a:rPr>
              <a:t>PA_TOIout</a:t>
            </a:r>
            <a:r>
              <a:rPr lang="en-US" altLang="zh-CN" dirty="0">
                <a:highlight>
                  <a:srgbClr val="FFFF00"/>
                </a:highlight>
              </a:rPr>
              <a:t>=15</a:t>
            </a:r>
            <a:endParaRPr lang="zh-CN" altLang="en-US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930043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81AD8C5-80CB-462C-9BC5-EF2746EF79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4F0E7AB-1420-4EAA-83D8-A84258827E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B6853B8C-463D-4550-ABC6-FA7C8EF367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est </a:t>
            </a:r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762228AE-31E1-4631-9ABD-947415CA623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18"/>
          <a:stretch/>
        </p:blipFill>
        <p:spPr>
          <a:xfrm>
            <a:off x="449201" y="1370282"/>
            <a:ext cx="3015763" cy="2477839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3E66A8FE-40D1-4922-8AA6-2F15FAD6F6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178910"/>
            <a:ext cx="9915525" cy="210502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A2F91B1F-945A-47AE-A4DF-4BD7803264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30000" y="1477871"/>
            <a:ext cx="3553925" cy="1981937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44D910C6-CD20-4D93-BA60-9067D27B0C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48961" y="1477871"/>
            <a:ext cx="3405188" cy="1917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4073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CB390A3-A258-414A-8358-365C7ACE95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232D4EE-755E-4FDC-A294-8D8942B637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3AFA8BA8-D2B3-4AFF-A7BF-26832149FF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im </a:t>
            </a:r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  <a:endParaRPr lang="zh-CN" altLang="en-US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77F89794-8698-40EB-A956-23C5E1431A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1637"/>
            <a:ext cx="3229123" cy="2018202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8C77D9E4-9273-4B86-AE5D-019214D268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359885"/>
            <a:ext cx="10134600" cy="197167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136F0577-B5C9-45EC-B50B-733C881198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82890" y="1721746"/>
            <a:ext cx="3221749" cy="1781175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47BA9CDA-B8FD-4BAC-94DD-8A02EFF261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09206" y="1455879"/>
            <a:ext cx="3951518" cy="218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7440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1262A8E-87FA-42E2-A0CD-CCC08E96C3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E1F4CB6A-9EF0-4FCE-9EB6-28C209FA9BC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2A5869FD-82F1-4125-84EB-6DE5ABDA1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C3048B51-F212-4C52-8C71-D478ADC70D98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16870"/>
            <a:ext cx="8076499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77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7542D0A-2DEC-4352-B3B6-C595ADD65D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D0AC434A-4F89-428D-A840-08F0875C6FB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F4B53036-9550-4698-99DF-0870367EB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est </a:t>
            </a:r>
            <a:r>
              <a:rPr lang="en-US" altLang="zh-CN" dirty="0" err="1"/>
              <a:t>DAC_Nbits</a:t>
            </a:r>
            <a:r>
              <a:rPr lang="en-US" altLang="zh-CN" dirty="0"/>
              <a:t>=12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E43F63C7-38A0-45EE-962C-E9EF4A4409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2610522" cy="1957892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C8277475-C167-4BD4-B854-77D32E662B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134216"/>
            <a:ext cx="10067925" cy="166687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CF175830-9CA6-40B6-8407-A2006A555C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56353" y="1370282"/>
            <a:ext cx="3340711" cy="1858216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4E12AE7B-7AEF-4614-A98F-958004329E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5292" y="1370282"/>
            <a:ext cx="3564608" cy="1980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66686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6C541FD-D662-4020-8F26-A49AEA4687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C8C3AC9-9F16-49FF-BE3F-6A42402978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BD3DE98-55C1-417D-99F0-4846CEAC9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im </a:t>
            </a:r>
            <a:r>
              <a:rPr lang="en-US" altLang="zh-CN" dirty="0" err="1"/>
              <a:t>DAC_Nbits</a:t>
            </a:r>
            <a:r>
              <a:rPr lang="en-US" altLang="zh-CN" dirty="0"/>
              <a:t>=12</a:t>
            </a:r>
            <a:endParaRPr lang="zh-CN" alt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56E282A0-25F1-467E-9F3D-59CCF32270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460256"/>
            <a:ext cx="2432538" cy="1520336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C83177A4-A52C-483E-8D4A-DC419541D5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022847"/>
            <a:ext cx="10220325" cy="204787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3F5392E2-EFAC-4B85-9C2B-5472064D5D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96417" y="1535678"/>
            <a:ext cx="3172498" cy="1764030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68345738-F872-49AF-9289-E082F1D9CB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72254" y="1460256"/>
            <a:ext cx="3091962" cy="172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0465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2D08D56-A60B-4514-B92D-DD8E8B6AC9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E224342-FC26-43EE-B393-19628324340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5AE37F12-C0CB-4FB0-BBD7-3AEE7CC61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30BE847F-B692-4C5E-A56B-1CC057139587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16870"/>
            <a:ext cx="8052598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8189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1216108-0E9E-4573-B85B-150A519686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C34AF4B-AACB-4D7E-BA57-B3EE19DF0A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0FEC8A86-5028-4BD5-B917-E9A68708EE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DAC_Nbits</a:t>
            </a:r>
            <a:r>
              <a:rPr lang="en-US" altLang="zh-CN" dirty="0"/>
              <a:t>=10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2402700-3603-4300-920F-4EB2D6CBF7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8558"/>
          <a:stretch/>
        </p:blipFill>
        <p:spPr>
          <a:xfrm>
            <a:off x="449201" y="1574862"/>
            <a:ext cx="1434347" cy="1203508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776C8B69-76F0-4C57-B6A7-B7180B2EE9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3675185"/>
            <a:ext cx="10067925" cy="205740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56762D1F-0190-49F1-A9B5-5F804E747F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9586" y="1398947"/>
            <a:ext cx="3424238" cy="1918882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19E9C8E8-E88A-4F5C-8446-C8FA7DA06A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83163" y="1414876"/>
            <a:ext cx="3051298" cy="1710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7248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1F4995F-A0CC-44DF-8CED-CF19638960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6C50F58-B399-49F4-9B16-4DE3F01274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27C2F492-85BC-4771-B02D-99D55440C7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DAC_Nbits</a:t>
            </a:r>
            <a:r>
              <a:rPr lang="en-US" altLang="zh-CN" dirty="0"/>
              <a:t>=10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D840FA9E-2BDC-473A-BD50-B5FC8EAF8A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4737"/>
            <a:ext cx="3052690" cy="1907931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39BDB16C-F6E8-4823-91D3-392C657BEC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518220"/>
            <a:ext cx="10191750" cy="141922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31AB63D3-8ED1-4C2F-8B36-5E99019A92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26106" y="1636865"/>
            <a:ext cx="2718653" cy="1509053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D9BFEDA3-DCE1-4594-999E-089CD3C11C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13671" y="1838809"/>
            <a:ext cx="3414713" cy="190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18500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E3715D4-FE29-4858-857D-74314C14B5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408CD98-4974-4FCD-9843-26316C14487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CCEE7643-36CB-40E8-B912-F9CE2F651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25D9A6A4-93DA-412F-B6C1-F1C7A2AC792D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16870"/>
            <a:ext cx="8104665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3390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2747A46-970A-4FC1-81B1-EA8F9A043D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00DEFF2-44CF-4DA6-8D3D-3D990DE887D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0B018A84-8FBC-46B0-9EC7-1BBBB01159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ain </a:t>
            </a:r>
            <a:r>
              <a:rPr lang="en-US" altLang="zh-CN" dirty="0" err="1"/>
              <a:t>Imblance</a:t>
            </a:r>
            <a:r>
              <a:rPr lang="en-US" altLang="zh-CN" dirty="0"/>
              <a:t> Test</a:t>
            </a:r>
            <a:endParaRPr lang="zh-CN" altLang="en-US" dirty="0"/>
          </a:p>
        </p:txBody>
      </p:sp>
      <p:sp>
        <p:nvSpPr>
          <p:cNvPr id="6" name="内容占位符 1">
            <a:extLst>
              <a:ext uri="{FF2B5EF4-FFF2-40B4-BE49-F238E27FC236}">
                <a16:creationId xmlns:a16="http://schemas.microsoft.com/office/drawing/2014/main" id="{D74149E4-876E-4CC4-A8DF-78DBD0E38750}"/>
              </a:ext>
            </a:extLst>
          </p:cNvPr>
          <p:cNvSpPr txBox="1">
            <a:spLocks/>
          </p:cNvSpPr>
          <p:nvPr/>
        </p:nvSpPr>
        <p:spPr>
          <a:xfrm>
            <a:off x="449201" y="1712333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Gain </a:t>
            </a:r>
            <a:r>
              <a:rPr lang="en-US" altLang="zh-CN" dirty="0" err="1"/>
              <a:t>Imblance</a:t>
            </a:r>
            <a:r>
              <a:rPr lang="en-US" altLang="zh-CN" dirty="0"/>
              <a:t> Change 10dB:                                             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>
                <a:highlight>
                  <a:srgbClr val="FFFF00"/>
                </a:highlight>
              </a:rPr>
              <a:t>GainImblance</a:t>
            </a:r>
            <a:r>
              <a:rPr lang="en-US" altLang="zh-CN" dirty="0">
                <a:highlight>
                  <a:srgbClr val="FFFF00"/>
                </a:highlight>
              </a:rPr>
              <a:t>=0.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 =[100, -97.133, 1000, -106.072, 1e5, -118.607]; </a:t>
            </a:r>
            <a:r>
              <a:rPr lang="en-US" altLang="zh-CN" dirty="0" err="1"/>
              <a:t>PA_TOIout</a:t>
            </a:r>
            <a:r>
              <a:rPr lang="en-US" altLang="zh-CN" dirty="0"/>
              <a:t>=20</a:t>
            </a:r>
            <a:endParaRPr lang="zh-CN" altLang="en-US" dirty="0"/>
          </a:p>
        </p:txBody>
      </p:sp>
      <p:sp>
        <p:nvSpPr>
          <p:cNvPr id="7" name="内容占位符 1">
            <a:extLst>
              <a:ext uri="{FF2B5EF4-FFF2-40B4-BE49-F238E27FC236}">
                <a16:creationId xmlns:a16="http://schemas.microsoft.com/office/drawing/2014/main" id="{8505BB91-A8CC-4DC2-B813-68E7BDD79655}"/>
              </a:ext>
            </a:extLst>
          </p:cNvPr>
          <p:cNvSpPr txBox="1">
            <a:spLocks/>
          </p:cNvSpPr>
          <p:nvPr/>
        </p:nvSpPr>
        <p:spPr>
          <a:xfrm>
            <a:off x="5707755" y="1712332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Gain </a:t>
            </a:r>
            <a:r>
              <a:rPr lang="en-US" altLang="zh-CN" dirty="0" err="1"/>
              <a:t>Imblance</a:t>
            </a:r>
            <a:r>
              <a:rPr lang="en-US" altLang="zh-CN" dirty="0"/>
              <a:t> Change 10dB:                                             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>
                <a:highlight>
                  <a:srgbClr val="FFFF00"/>
                </a:highlight>
              </a:rPr>
              <a:t>GainImblance</a:t>
            </a:r>
            <a:r>
              <a:rPr lang="en-US" altLang="zh-CN" dirty="0">
                <a:highlight>
                  <a:srgbClr val="FFFF00"/>
                </a:highlight>
              </a:rPr>
              <a:t>=0.1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 =[100, -97.133, 1000, -106.072, 1e5, -118.607]; </a:t>
            </a:r>
            <a:r>
              <a:rPr lang="en-US" altLang="zh-CN" dirty="0" err="1"/>
              <a:t>PA_TOIout</a:t>
            </a:r>
            <a:r>
              <a:rPr lang="en-US" altLang="zh-CN" dirty="0"/>
              <a:t>=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712823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7F2A779-A76C-4922-A490-41042B7251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DD37B92-FBB3-405B-A863-AD64BBBA9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D41B2808-9111-4F92-82CC-041027F722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_TOI=30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2F2316D9-E924-442B-84C6-DBC3498537F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8413" b="12255"/>
          <a:stretch/>
        </p:blipFill>
        <p:spPr>
          <a:xfrm>
            <a:off x="449202" y="1563386"/>
            <a:ext cx="2207258" cy="1619429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C72CF45A-3084-4AE8-B86C-AA20592A76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643556"/>
            <a:ext cx="11010900" cy="137160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E51DD240-9A13-4984-AE2E-7F2FC845DC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67477" y="1425479"/>
            <a:ext cx="4454037" cy="2207653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5E87F490-E869-466D-AE6B-35917816FC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6972" y="1530096"/>
            <a:ext cx="4031835" cy="1998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10545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1A6DD5C-0AC1-4904-ABEB-25CD85EAC3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EF2CD95-8D6F-4DC8-9AE0-B1B3F3C57E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A4DF9BF2-7B67-43BD-A313-B75950865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GainImblance</a:t>
            </a:r>
            <a:r>
              <a:rPr lang="en-US" altLang="zh-CN" dirty="0"/>
              <a:t>=0.02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4A779CAB-EE5D-42B2-BB4C-0754C63CDB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482571"/>
            <a:ext cx="2595239" cy="1946429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F73548DC-4293-44DE-A201-9D0AFB7375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235445"/>
            <a:ext cx="9877425" cy="176212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2E0F482E-867B-402F-9E49-E71551A132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87212" y="1566743"/>
            <a:ext cx="3169627" cy="1778083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42121223-70DF-41BC-85FF-868C33F592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99611" y="1698380"/>
            <a:ext cx="3100021" cy="1730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88243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8CD2C70-C708-45D2-8C93-F8ADEDD17F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42C1FB3-2548-471E-B7AB-67CF8ED5D7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5BC94939-FD58-4E35-821F-0C682D645E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GainImblance</a:t>
            </a:r>
            <a:r>
              <a:rPr lang="en-US" altLang="zh-CN" dirty="0"/>
              <a:t>=0.02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5EDAF64C-65D6-44A1-899B-AA84602786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81712"/>
            <a:ext cx="2854569" cy="1784106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E9822D3B-B06A-4F7B-93BA-DF57E48C0D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3921002"/>
            <a:ext cx="10191750" cy="218122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1E687923-D962-4878-AEAB-C8B8043B0E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96396" y="1381712"/>
            <a:ext cx="3834788" cy="218122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3213910B-4779-4778-BE14-D373F817F4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50760" y="1633757"/>
            <a:ext cx="3012047" cy="1677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9458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3F8D65D-4903-440F-A52C-6F2C2C4FC6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2205265-9E83-4CD8-9F84-12359B7F01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780C93FE-E2C7-492B-B96B-9756E0E6E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6D6DA988-8C8E-4EFC-A40F-A70ED5D2E01F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59107"/>
            <a:ext cx="8024564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04701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09C1277-FECD-40F8-B862-AFB4FCE84B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6D5A36F5-0D2C-408F-AEF5-90D58D0DE2B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F58D47C-F4B1-434A-8B67-D0FC671EF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GainImblance</a:t>
            </a:r>
            <a:r>
              <a:rPr lang="en-US" altLang="zh-CN" dirty="0"/>
              <a:t>=0.1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FA82279E-DB4D-48FD-825F-7B58B234A3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2335823" cy="1751867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EA4CFE92-DC14-41BE-8853-55DCD21B5E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3985479"/>
            <a:ext cx="10096500" cy="1876425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3DB4B699-2FCA-48E0-813A-B6894D58DC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2331" y="1593429"/>
            <a:ext cx="2947666" cy="1626210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08C5DA32-96F5-4F67-ADE5-1B6F44E829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69997" y="1556724"/>
            <a:ext cx="3390900" cy="1899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20781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866B119-3383-4D93-8937-9D25EB615C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094869E-9EC6-48C3-8D40-0F543D7049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01C4B4A-5820-4C75-9585-BB8D18C13B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GainImblance</a:t>
            </a:r>
            <a:r>
              <a:rPr lang="en-US" altLang="zh-CN" dirty="0"/>
              <a:t>=0.1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67E0D05-5A4F-406F-BF16-C8E6A21694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437176"/>
            <a:ext cx="2722685" cy="1701678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ECA8FADE-C780-4305-A719-44C379B3F0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416962"/>
            <a:ext cx="10287000" cy="1466850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2093D3AB-07B0-490B-89A0-22E5A0B3F9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78391" y="1428267"/>
            <a:ext cx="4775009" cy="2638058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3EEFF789-C5DC-41DC-944C-EBA9F88360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53400" y="1510951"/>
            <a:ext cx="3894192" cy="2183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36861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102D7EE-34D5-4A2C-ACC9-2BF1F08B9E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E60072B2-337C-4926-8A92-C708C76A8AD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65D7B8CD-765C-475C-9CFD-7621D27439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17AB656A-9E50-4898-B338-353FB68CDA2C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370282"/>
            <a:ext cx="8007993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50326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2232322-B07C-44A6-BD7B-3AFD8BB1A8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56DF92C9-EAB6-4963-A5BD-140FF35803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6AF47B60-F94A-4AEE-8A9B-64A37135C2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IQoffset</a:t>
            </a:r>
            <a:r>
              <a:rPr lang="en-US" altLang="zh-CN" dirty="0"/>
              <a:t> Test</a:t>
            </a:r>
            <a:endParaRPr lang="zh-CN" altLang="en-US" dirty="0"/>
          </a:p>
        </p:txBody>
      </p:sp>
      <p:sp>
        <p:nvSpPr>
          <p:cNvPr id="6" name="内容占位符 1">
            <a:extLst>
              <a:ext uri="{FF2B5EF4-FFF2-40B4-BE49-F238E27FC236}">
                <a16:creationId xmlns:a16="http://schemas.microsoft.com/office/drawing/2014/main" id="{748668FE-7225-414F-8AE0-2C1246968887}"/>
              </a:ext>
            </a:extLst>
          </p:cNvPr>
          <p:cNvSpPr txBox="1">
            <a:spLocks/>
          </p:cNvSpPr>
          <p:nvPr/>
        </p:nvSpPr>
        <p:spPr>
          <a:xfrm>
            <a:off x="449201" y="1567478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IQ offset Change 10dB:                                             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/>
              <a:t>GainImblance</a:t>
            </a:r>
            <a:r>
              <a:rPr lang="en-US" altLang="zh-CN" dirty="0"/>
              <a:t>=0.002</a:t>
            </a:r>
          </a:p>
          <a:p>
            <a:r>
              <a:rPr lang="en-US" altLang="zh-CN" dirty="0">
                <a:highlight>
                  <a:srgbClr val="FFFF00"/>
                </a:highlight>
              </a:rPr>
              <a:t>IQ offset=0.014</a:t>
            </a:r>
          </a:p>
          <a:p>
            <a:r>
              <a:rPr lang="en-US" altLang="zh-CN" dirty="0"/>
              <a:t>Phase Noise =[100, -97.133, 1000, -106.072, 1e5, -118.607]; </a:t>
            </a:r>
            <a:r>
              <a:rPr lang="en-US" altLang="zh-CN" dirty="0" err="1"/>
              <a:t>PA_TOIout</a:t>
            </a:r>
            <a:r>
              <a:rPr lang="en-US" altLang="zh-CN" dirty="0"/>
              <a:t>=20</a:t>
            </a:r>
            <a:endParaRPr lang="zh-CN" altLang="en-US" dirty="0"/>
          </a:p>
        </p:txBody>
      </p:sp>
      <p:sp>
        <p:nvSpPr>
          <p:cNvPr id="7" name="内容占位符 1">
            <a:extLst>
              <a:ext uri="{FF2B5EF4-FFF2-40B4-BE49-F238E27FC236}">
                <a16:creationId xmlns:a16="http://schemas.microsoft.com/office/drawing/2014/main" id="{AF112D20-C81D-41EA-94CE-222F4E0C499E}"/>
              </a:ext>
            </a:extLst>
          </p:cNvPr>
          <p:cNvSpPr txBox="1">
            <a:spLocks/>
          </p:cNvSpPr>
          <p:nvPr/>
        </p:nvSpPr>
        <p:spPr>
          <a:xfrm>
            <a:off x="5852611" y="1567198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IQ offset Change 15dB:                                             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/>
              <a:t>GainImblance</a:t>
            </a:r>
            <a:r>
              <a:rPr lang="en-US" altLang="zh-CN" dirty="0"/>
              <a:t>=0.002</a:t>
            </a:r>
          </a:p>
          <a:p>
            <a:r>
              <a:rPr lang="en-US" altLang="zh-CN" dirty="0">
                <a:highlight>
                  <a:srgbClr val="FFFF00"/>
                </a:highlight>
              </a:rPr>
              <a:t>IQ offset=0.025</a:t>
            </a:r>
          </a:p>
          <a:p>
            <a:r>
              <a:rPr lang="en-US" altLang="zh-CN" dirty="0"/>
              <a:t>Phase Noise =[100, -97.133, 1000, -106.072, 1e5, -118.607]; </a:t>
            </a:r>
            <a:r>
              <a:rPr lang="en-US" altLang="zh-CN" dirty="0" err="1"/>
              <a:t>PA_TOIout</a:t>
            </a:r>
            <a:r>
              <a:rPr lang="en-US" altLang="zh-CN" dirty="0"/>
              <a:t>=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7364459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9289E31-4D7F-4A47-9666-F15416B30F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E3AD3B2-42DF-4570-BFAE-4525BF95EE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ADBC43DA-0675-4F0A-AA43-1D0DE109C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IQoffset</a:t>
            </a:r>
            <a:r>
              <a:rPr lang="en-US" altLang="zh-CN" dirty="0"/>
              <a:t>=0.014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ADA2DCC-3E88-43C2-93CD-978D0FFDC8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2759991" cy="2069993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CF4E2FE5-606D-4EAF-987B-DCA56F2C36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3989143"/>
            <a:ext cx="10277475" cy="223837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D2D5DA0D-29B0-47B5-BB0F-05956BB394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06652" y="1678877"/>
            <a:ext cx="2689348" cy="1496170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367EB7F4-6FBF-4791-BB04-8D24BEE573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1678877"/>
            <a:ext cx="3381375" cy="1897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80374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D461194-3439-4CE5-8D09-719C2814A6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A365BC4-011A-41A8-B4D5-336B624C8D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EC36618-0C78-485F-99C7-C3AEB15B19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IQoffset</a:t>
            </a:r>
            <a:r>
              <a:rPr lang="en-US" altLang="zh-CN" dirty="0"/>
              <a:t>= 0.014</a:t>
            </a:r>
            <a:endParaRPr lang="zh-CN" altLang="en-US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87372755-38BC-4942-9A70-F43E878A62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3429000" cy="214312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07D8CB1E-046B-4F26-AD93-1C4E9DF7E1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459898"/>
            <a:ext cx="10115550" cy="1314450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B86CC407-09FA-4B8E-8F7B-F128FED718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8600" y="1492801"/>
            <a:ext cx="3813699" cy="2143126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372DBAF7-59AC-4C74-ADDF-CD4F9ABAB1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02991" y="1701851"/>
            <a:ext cx="3098556" cy="1725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77723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998F8F0-6202-4A14-BC1C-E9649333C8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14C7F08-9D72-4FBB-91A9-4D22122E49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1B99FD73-6C4B-46BB-AEA5-C24B9738B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4AC2555A-EBCC-4512-9B18-79C39959C6E4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16870"/>
            <a:ext cx="7982514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6178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67B28BE-D54B-4B70-A1EF-1BB213E289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E894DA05-339D-4665-8299-DE2DDC9D2D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E5A6E48F-A899-475C-952A-3524EBF9B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TOI</a:t>
            </a:r>
            <a:r>
              <a:rPr lang="en-US" altLang="zh-CN" dirty="0"/>
              <a:t>=30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A5D1F8A9-DF02-4F8E-96CB-F22D92FAAD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2821537" cy="1763461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0E8CEBAB-5A95-41D8-91B5-844294EAA7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570167"/>
            <a:ext cx="10363200" cy="130492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FCE6EDA3-5120-4A1D-BD70-0DCAFB8B44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8699" y="1665538"/>
            <a:ext cx="3554866" cy="1763462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460C6A74-2854-45EC-A4C3-AE8EFA16F4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83379" y="1742169"/>
            <a:ext cx="3424238" cy="168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6748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8B2D22C-78E5-4177-BAC4-0A6CEA0D43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69E3168-96ED-474A-8E19-52762AB365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96D6969C-8A26-4520-B12C-A32585E86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IQoffset</a:t>
            </a:r>
            <a:r>
              <a:rPr lang="en-US" altLang="zh-CN" dirty="0"/>
              <a:t>=0.025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4C28A8C0-A0BB-485D-A625-D36E8B573F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392" y="1370282"/>
            <a:ext cx="3777762" cy="2833322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C1199EA3-6E5D-4520-BB63-23589D23D0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392" y="4257291"/>
            <a:ext cx="10487025" cy="226695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686DA5C2-559E-45A3-9B84-B9FE0FB4B8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4698" y="1368196"/>
            <a:ext cx="3191150" cy="1784269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8FCAD964-EA4C-45B8-990F-19DBC08170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21477" y="1368196"/>
            <a:ext cx="3664561" cy="2039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49395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1093E0C-F046-479A-994C-322F161A6B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6CEACF5-735A-4EB5-A5F2-EDE86CC78B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F655782D-8C01-4FA6-A6B1-463CA96DE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IQoffset</a:t>
            </a:r>
            <a:r>
              <a:rPr lang="en-US" altLang="zh-CN" dirty="0"/>
              <a:t>=0.025</a:t>
            </a:r>
            <a:endParaRPr lang="zh-CN" altLang="en-US" dirty="0"/>
          </a:p>
        </p:txBody>
      </p:sp>
      <p:pic>
        <p:nvPicPr>
          <p:cNvPr id="7" name="内容占位符 6">
            <a:extLst>
              <a:ext uri="{FF2B5EF4-FFF2-40B4-BE49-F238E27FC236}">
                <a16:creationId xmlns:a16="http://schemas.microsoft.com/office/drawing/2014/main" id="{C861DB26-29F3-4FF3-ADFE-15D396E48D27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61794"/>
            <a:ext cx="2580382" cy="1612739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854F96E4-CD00-4822-B4ED-2755A57711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152900"/>
            <a:ext cx="10582275" cy="198120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FA891B04-1113-4F08-A74E-4EDB38217E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1460" y="1498534"/>
            <a:ext cx="3238134" cy="1788684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0BA58DEB-38E2-41FB-8B85-A44928D514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48829" y="1513355"/>
            <a:ext cx="2809142" cy="1561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29304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B5E84A2-103C-4728-AB94-6EFA835B3C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CD56BA4-399B-4F5F-B565-6F0698E595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D7B1A08F-511D-4E51-AA06-7C1060213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02F76BA4-D10B-403B-9C7E-C2A6FA3C6610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59107"/>
            <a:ext cx="8083540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3339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>
            <a:extLst>
              <a:ext uri="{FF2B5EF4-FFF2-40B4-BE49-F238E27FC236}">
                <a16:creationId xmlns:a16="http://schemas.microsoft.com/office/drawing/2014/main" id="{68D79AFE-7691-4F42-AF5C-14037A2F618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2891149" cy="4479059"/>
          </a:xfrm>
        </p:spPr>
        <p:txBody>
          <a:bodyPr/>
          <a:lstStyle/>
          <a:p>
            <a:r>
              <a:rPr lang="en-US" altLang="zh-CN" dirty="0" err="1"/>
              <a:t>Orgin</a:t>
            </a:r>
            <a:r>
              <a:rPr lang="en-US" altLang="zh-CN" dirty="0"/>
              <a:t> Para:                                             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/>
              <a:t>GainImb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=[100 ]</a:t>
            </a:r>
          </a:p>
          <a:p>
            <a:r>
              <a:rPr lang="en-US" altLang="zh-CN" dirty="0" err="1"/>
              <a:t>PA_TOIout</a:t>
            </a:r>
            <a:r>
              <a:rPr lang="en-US" altLang="zh-CN" dirty="0"/>
              <a:t>=30</a:t>
            </a:r>
            <a:endParaRPr lang="zh-CN" altLang="en-US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046D67D-2598-4490-88C7-C26B9EDAE2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8ACD989-2EBF-40EA-801A-B90E701352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6875B6A1-301E-4158-9790-DEE14CECE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mbine Test</a:t>
            </a:r>
            <a:endParaRPr lang="zh-CN" altLang="en-US" dirty="0"/>
          </a:p>
        </p:txBody>
      </p:sp>
      <p:sp>
        <p:nvSpPr>
          <p:cNvPr id="6" name="内容占位符 1">
            <a:extLst>
              <a:ext uri="{FF2B5EF4-FFF2-40B4-BE49-F238E27FC236}">
                <a16:creationId xmlns:a16="http://schemas.microsoft.com/office/drawing/2014/main" id="{0FE7BBC8-5FC6-431B-82AF-749EF22479AE}"/>
              </a:ext>
            </a:extLst>
          </p:cNvPr>
          <p:cNvSpPr txBox="1">
            <a:spLocks/>
          </p:cNvSpPr>
          <p:nvPr/>
        </p:nvSpPr>
        <p:spPr>
          <a:xfrm>
            <a:off x="4393379" y="1802868"/>
            <a:ext cx="2891149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Change 5dB:                                             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2</a:t>
            </a:r>
          </a:p>
          <a:p>
            <a:r>
              <a:rPr lang="en-US" altLang="zh-CN" dirty="0" err="1"/>
              <a:t>GainImblance</a:t>
            </a:r>
            <a:r>
              <a:rPr lang="en-US" altLang="zh-CN" dirty="0"/>
              <a:t>=0.01</a:t>
            </a:r>
          </a:p>
          <a:p>
            <a:r>
              <a:rPr lang="en-US" altLang="zh-CN" dirty="0"/>
              <a:t>IQ offset=0.0079</a:t>
            </a:r>
          </a:p>
          <a:p>
            <a:r>
              <a:rPr lang="en-US" altLang="zh-CN" dirty="0"/>
              <a:t>Phase Noise=[100 ]</a:t>
            </a:r>
          </a:p>
          <a:p>
            <a:r>
              <a:rPr lang="en-US" altLang="zh-CN" dirty="0" err="1"/>
              <a:t>PA_TOIout</a:t>
            </a:r>
            <a:r>
              <a:rPr lang="en-US" altLang="zh-CN" dirty="0"/>
              <a:t>=25</a:t>
            </a:r>
            <a:endParaRPr lang="zh-CN" altLang="en-US" dirty="0"/>
          </a:p>
        </p:txBody>
      </p:sp>
      <p:sp>
        <p:nvSpPr>
          <p:cNvPr id="7" name="内容占位符 1">
            <a:extLst>
              <a:ext uri="{FF2B5EF4-FFF2-40B4-BE49-F238E27FC236}">
                <a16:creationId xmlns:a16="http://schemas.microsoft.com/office/drawing/2014/main" id="{73DB8A11-F00E-42C3-B718-83BCA5AE5AE3}"/>
              </a:ext>
            </a:extLst>
          </p:cNvPr>
          <p:cNvSpPr txBox="1">
            <a:spLocks/>
          </p:cNvSpPr>
          <p:nvPr/>
        </p:nvSpPr>
        <p:spPr>
          <a:xfrm>
            <a:off x="8741045" y="1829749"/>
            <a:ext cx="2891149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Change 10dB:                                             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0</a:t>
            </a:r>
          </a:p>
          <a:p>
            <a:r>
              <a:rPr lang="en-US" altLang="zh-CN" dirty="0" err="1"/>
              <a:t>GainImblance</a:t>
            </a:r>
            <a:r>
              <a:rPr lang="en-US" altLang="zh-CN" dirty="0"/>
              <a:t>=0.02</a:t>
            </a:r>
          </a:p>
          <a:p>
            <a:r>
              <a:rPr lang="en-US" altLang="zh-CN" dirty="0"/>
              <a:t>IQ offset=0.014</a:t>
            </a:r>
          </a:p>
          <a:p>
            <a:r>
              <a:rPr lang="en-US" altLang="zh-CN" dirty="0"/>
              <a:t>Phase Noise=[100 ]</a:t>
            </a:r>
          </a:p>
          <a:p>
            <a:r>
              <a:rPr lang="en-US" altLang="zh-CN" dirty="0" err="1"/>
              <a:t>PA_TOIout</a:t>
            </a:r>
            <a:r>
              <a:rPr lang="en-US" altLang="zh-CN" dirty="0"/>
              <a:t>=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8103838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14F5889-942E-417E-9561-35D1C2C2AD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329ABE7-9A27-451C-B35E-508098CBDFC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74D4C2EE-7CD1-465C-91B7-64F867F49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Org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0D7522E6-E20F-45B7-A1BC-624171B5C3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2397369" cy="1798027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DF096FC7-6EDA-482E-8E6D-BBCF86CBEA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3911595"/>
            <a:ext cx="10210800" cy="208597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FFC26ACF-9522-44BB-9E02-2809254B27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3930" y="1453976"/>
            <a:ext cx="3781651" cy="2085976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8F2FE5B5-2994-4C98-AD3B-EA65DF73E1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941" y="1639798"/>
            <a:ext cx="3735201" cy="208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23261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5EB9DDF-7A6A-4D2D-9F38-6C0558DEB1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9E7DFE2-E61F-401F-BE0F-18859C4E29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590CFBFF-6BC5-452B-A297-7A6A46C94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im Org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D542B6D-C46E-4DEC-9B9E-5BFE5039A0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39568"/>
            <a:ext cx="3052690" cy="1907931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A5547EB2-57BC-4820-B6A7-35DFC7C49C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199661"/>
            <a:ext cx="10248900" cy="228600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E3688791-C236-42EC-B824-8EF415D459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42592" y="1370282"/>
            <a:ext cx="3827585" cy="213461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FC1CF23E-5622-4905-867E-ED5D6BB751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70177" y="1525647"/>
            <a:ext cx="3994638" cy="2224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26805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5377AF8-DB5F-4450-9AEB-BE2A380A61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2A22C0E-DC19-47ED-BCAF-CDE69E7C4D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72D12845-0D5C-4F30-98BF-6F054DA75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9D0F2DBD-CB7D-4D72-B8EC-106894DE479E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370282"/>
            <a:ext cx="8038581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14309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B966CE4-9110-4FBA-ACAF-3440C0CC8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2F8C2FB-7DE3-40A6-BB35-40E54C9B50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1BE48626-0D2A-486D-9B1E-5A55CD9C7A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Change 5dB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AFE7646F-7D86-447C-A08A-5E34ABD44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2157047" cy="1617785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CEB1294B-5D70-4973-97BE-62F5477DE5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3869934"/>
            <a:ext cx="10382250" cy="149542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00C3F457-CCF4-4AEF-9C85-D46C05E4A7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4859" y="1492641"/>
            <a:ext cx="3141141" cy="1740510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226DC995-4B2E-40E4-A296-13AD4CA929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8203" y="1580874"/>
            <a:ext cx="2928938" cy="1631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71034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0F0980F-07CF-4CD9-9409-52D6D87D57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6277599-0713-41F5-9412-239CFAFDC96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AF94AA2D-CF17-4AE1-B06D-39D7FD4D0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im Change 5dB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A3ADA408-D521-4FDB-A984-4E9A17E5C2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3429000" cy="2143125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40F0F359-1228-44A9-AC96-B05220729A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500929"/>
            <a:ext cx="10410825" cy="161925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344C1FB0-0398-4F9E-AD7B-730574E303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04176" y="1456043"/>
            <a:ext cx="3272080" cy="1802056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1496BB09-7509-4810-A25E-C47055DB77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71630" y="1581399"/>
            <a:ext cx="3273364" cy="1799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12031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06EFC0B-0394-4089-A97D-6D3DD94BBC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5B14ABA1-26A5-4EB4-B9F1-F7117EE1588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F59E3D3D-CB91-4893-9159-169A0ED98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09FB2739-89BB-48AB-B4B1-F8A3305264E5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370282"/>
            <a:ext cx="8065220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4569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2C85A32-4746-474D-A3A7-43DC7B4C79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C29A879-6F1A-4746-814C-9C78DC8102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7028EA73-ED3C-4FDC-9998-53E58C14C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9A98D6AF-7D49-40D3-810D-86502AB61E38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503069"/>
            <a:ext cx="9059353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61626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4E5E9F3-3970-469E-9FE7-5FA6183BAD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458B940-705E-4F3A-8992-56BBA202FC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958AB42E-FE33-4BB4-8067-65BFB14BB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Change 10dB</a:t>
            </a:r>
            <a:endParaRPr lang="zh-CN" altLang="en-US" dirty="0"/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00272454-7291-4196-98A9-9B88A7F8B7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422303"/>
            <a:ext cx="2916115" cy="2187086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A85636EB-53C7-4113-A132-23A7471B30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6657" y="1422303"/>
            <a:ext cx="4206387" cy="2345446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F7B63DAB-54CA-4179-973E-C8DA5314D4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6702" y="1499409"/>
            <a:ext cx="3918805" cy="2191234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42B4EC6E-E38D-4873-9A24-78DB80008C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201" y="4108277"/>
            <a:ext cx="10172700" cy="209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26564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CC9C705-4F75-4E61-BBE2-B6480DA783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8FD18C1-2E01-422D-9D25-587AE216CFD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65DC59B9-BD96-4AD3-8F1B-2B84CDA807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im Change 10dB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709E476B-FBCF-458F-BEBC-CAA32C82E6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3733800" cy="2333625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59369BBD-058E-4142-B2F2-CB0B1E74DA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597057"/>
            <a:ext cx="10306050" cy="144780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D8D4ABCD-B2C7-485A-BAEE-5326091F82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6573" y="1481834"/>
            <a:ext cx="3816827" cy="2110520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20D56A0B-0F04-49AB-8410-B92FB2F5EA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09001" y="1482318"/>
            <a:ext cx="4002332" cy="222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72413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7325F5D-344E-4D1E-AA10-4F645E6FD1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9CEF397-6F25-4BB1-A3D0-E6180BEA1C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3B64F0CC-A75E-4EA6-85B0-81E2EC8F52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C4D26C58-8AD2-4ADB-90EB-66FFF6486D57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370282"/>
            <a:ext cx="8073623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786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D35E5A4-83D0-45FB-8811-41D3A7F4A23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2460B0B-8AC4-4651-8880-079D47D6D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B875AF6B-D510-4688-87C8-3D9F0CEFE3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_TOI=20</a:t>
            </a:r>
            <a:endParaRPr lang="zh-CN" altLang="en-US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B57F74C8-6732-4A57-9E25-75F5EF8683B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8269"/>
          <a:stretch/>
        </p:blipFill>
        <p:spPr>
          <a:xfrm>
            <a:off x="449201" y="1428840"/>
            <a:ext cx="2672862" cy="2227199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290F8EDD-AABC-4306-B0DB-FC8DEFD24C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3959220"/>
            <a:ext cx="10477500" cy="2038350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441955DE-AEA8-49E4-B788-2DE9540AB3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1144" y="1617690"/>
            <a:ext cx="3952509" cy="1950721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FE0A14DC-D87E-45D1-881B-D6FF091ABF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57330" y="1550116"/>
            <a:ext cx="4204555" cy="2085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4156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5B736E7-1358-4021-9B3D-4E2B2A7585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205C1D1-A989-4C89-9141-5911CC5E22A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861A19B1-EDAC-4BF6-A3A4-934F684B1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TOI</a:t>
            </a:r>
            <a:r>
              <a:rPr lang="en-US" altLang="zh-CN" dirty="0"/>
              <a:t>=20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DE56119-0CC1-4420-8FD9-E62C188D02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3718353" cy="2323971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E2962E13-5BA0-46D6-BBEB-8FE41D2B7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343400"/>
            <a:ext cx="10191750" cy="182880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4CC17475-B25E-4E8F-9534-B028C62116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9547" y="1501836"/>
            <a:ext cx="3868435" cy="192581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C1E258C3-C544-44AE-B25A-06692AF80C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53400" y="1513929"/>
            <a:ext cx="3899014" cy="192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9366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6AF4A5F-B407-4D1C-989E-A8A8E5C52E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3CD17EA-D8D2-4E4C-A448-D5903969860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064AF1E1-AC0F-496D-B025-C09B2E2ED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01EA0608-3314-49B1-B746-752E3FB2DE5C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519232"/>
            <a:ext cx="9035243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582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558D061-52C4-4D2C-AF45-D405765110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69116F26-9EB5-4526-A7FD-6F0A13697DC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6D1DE395-5753-49A9-819E-EDC011165F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_TOI=15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77F64099-0D50-4014-B5C2-D0957A8510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814" b="10897"/>
          <a:stretch/>
        </p:blipFill>
        <p:spPr>
          <a:xfrm>
            <a:off x="449202" y="1370282"/>
            <a:ext cx="2830330" cy="2074249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05B9B990-A462-4E22-924E-D2568A442A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303835"/>
            <a:ext cx="10144125" cy="148590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2D17C067-47B7-4AED-8610-D98282E7E7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87237" y="1370282"/>
            <a:ext cx="3441374" cy="191452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4AC018E4-DE09-4818-A36F-A959D5ABA8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19925" y="1514962"/>
            <a:ext cx="2906590" cy="162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8400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EE4P_STYLE_ID" val="39dcc26a-7131-49f4-a9eb-1c0521500c03"/>
</p:tagLst>
</file>

<file path=ppt/theme/theme1.xml><?xml version="1.0" encoding="utf-8"?>
<a:theme xmlns:a="http://schemas.openxmlformats.org/drawingml/2006/main" name="2017 Keysight Macro LIGHT">
  <a:themeElements>
    <a:clrScheme name="Keysight Light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E90029"/>
      </a:hlink>
      <a:folHlink>
        <a:srgbClr val="74001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eysight_Widescreen_02232018" id="{C6BC4F26-D47C-4FE7-9487-4903B1E8CFA3}" vid="{E6D5D821-B514-4AD8-AB7C-2A1F6114B2A1}"/>
    </a:ext>
  </a:extLst>
</a:theme>
</file>

<file path=ppt/theme/theme2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eysight_Widescreen_02232018</Template>
  <TotalTime>43957</TotalTime>
  <Words>997</Words>
  <Application>Microsoft Office PowerPoint</Application>
  <PresentationFormat>宽屏</PresentationFormat>
  <Paragraphs>175</Paragraphs>
  <Slides>52</Slides>
  <Notes>1</Notes>
  <HiddenSlides>0</HiddenSlides>
  <MMClips>0</MMClips>
  <ScaleCrop>false</ScaleCrop>
  <HeadingPairs>
    <vt:vector size="6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52</vt:i4>
      </vt:variant>
    </vt:vector>
  </HeadingPairs>
  <TitlesOfParts>
    <vt:vector size="56" baseType="lpstr">
      <vt:lpstr>黑体</vt:lpstr>
      <vt:lpstr>Arial</vt:lpstr>
      <vt:lpstr>Franklin Gothic Book</vt:lpstr>
      <vt:lpstr>2017 Keysight Macro LIGHT</vt:lpstr>
      <vt:lpstr>VXT2 Evaluation</vt:lpstr>
      <vt:lpstr>PA_TOIout Test</vt:lpstr>
      <vt:lpstr>VXT_TOI=30</vt:lpstr>
      <vt:lpstr>Sim_TOI=30</vt:lpstr>
      <vt:lpstr>PowerPoint 演示文稿</vt:lpstr>
      <vt:lpstr>VXT_TOI=20</vt:lpstr>
      <vt:lpstr>Sim_TOI=20</vt:lpstr>
      <vt:lpstr>PowerPoint 演示文稿</vt:lpstr>
      <vt:lpstr>VXT_TOI=15</vt:lpstr>
      <vt:lpstr>Sim_TOI=15</vt:lpstr>
      <vt:lpstr>PowerPoint 演示文稿</vt:lpstr>
      <vt:lpstr>Phase Noise Test</vt:lpstr>
      <vt:lpstr>VXT_PhaseNoise -10dB</vt:lpstr>
      <vt:lpstr>Sim_PhaseNoise -10dB</vt:lpstr>
      <vt:lpstr>PowerPoint 演示文稿</vt:lpstr>
      <vt:lpstr>VXT_PhaseNoise -15dB</vt:lpstr>
      <vt:lpstr>Sim_PhaseNoise -15dB</vt:lpstr>
      <vt:lpstr>PowerPoint 演示文稿</vt:lpstr>
      <vt:lpstr>DAC_Nbits Test</vt:lpstr>
      <vt:lpstr>Test DAC_Nbits=14</vt:lpstr>
      <vt:lpstr>Sim DAC_Nbits=14</vt:lpstr>
      <vt:lpstr>PowerPoint 演示文稿</vt:lpstr>
      <vt:lpstr>Test DAC_Nbits=12</vt:lpstr>
      <vt:lpstr>Sim DAC_Nbits=12</vt:lpstr>
      <vt:lpstr>PowerPoint 演示文稿</vt:lpstr>
      <vt:lpstr>VXT_DAC_Nbits=10</vt:lpstr>
      <vt:lpstr>Sim_DAC_Nbits=10</vt:lpstr>
      <vt:lpstr>PowerPoint 演示文稿</vt:lpstr>
      <vt:lpstr>Gain Imblance Test</vt:lpstr>
      <vt:lpstr>VXT_GainImblance=0.02</vt:lpstr>
      <vt:lpstr>Sim_GainImblance=0.02</vt:lpstr>
      <vt:lpstr>PowerPoint 演示文稿</vt:lpstr>
      <vt:lpstr>VXT_GainImblance=0.1</vt:lpstr>
      <vt:lpstr>Sim_GainImblance=0.1</vt:lpstr>
      <vt:lpstr>PowerPoint 演示文稿</vt:lpstr>
      <vt:lpstr>IQoffset Test</vt:lpstr>
      <vt:lpstr>VXT_IQoffset=0.014</vt:lpstr>
      <vt:lpstr>Sim_IQoffset= 0.014</vt:lpstr>
      <vt:lpstr>PowerPoint 演示文稿</vt:lpstr>
      <vt:lpstr>VXT_IQoffset=0.025</vt:lpstr>
      <vt:lpstr>Sim_IQoffset=0.025</vt:lpstr>
      <vt:lpstr>PowerPoint 演示文稿</vt:lpstr>
      <vt:lpstr>Combine Test</vt:lpstr>
      <vt:lpstr>VXT Org</vt:lpstr>
      <vt:lpstr>Sim Org</vt:lpstr>
      <vt:lpstr>PowerPoint 演示文稿</vt:lpstr>
      <vt:lpstr>VXT Change 5dB</vt:lpstr>
      <vt:lpstr>Sim Change 5dB</vt:lpstr>
      <vt:lpstr>PowerPoint 演示文稿</vt:lpstr>
      <vt:lpstr>VXT Change 10dB</vt:lpstr>
      <vt:lpstr>Sim Change 10dB</vt:lpstr>
      <vt:lpstr>PowerPoint 演示文稿</vt:lpstr>
    </vt:vector>
  </TitlesOfParts>
  <Company>Keysight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Layout (Maximum 2 Lines)</dc:title>
  <dc:creator>YU,XIAN (K-China,ex1)</dc:creator>
  <cp:lastModifiedBy>Leibo Guo</cp:lastModifiedBy>
  <cp:revision>223</cp:revision>
  <dcterms:created xsi:type="dcterms:W3CDTF">2018-09-20T02:08:36Z</dcterms:created>
  <dcterms:modified xsi:type="dcterms:W3CDTF">2019-03-08T06:29:38Z</dcterms:modified>
</cp:coreProperties>
</file>